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1.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3.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4.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5.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ink/ink1.xml" ContentType="application/inkml+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notesSlides/notesSlide9.xml" ContentType="application/vnd.openxmlformats-officedocument.presentationml.notesSlide+xml"/>
  <Override PartName="/ppt/tags/tag3.xml" ContentType="application/vnd.openxmlformats-officedocument.presentationml.tags+xml"/>
  <Override PartName="/ppt/notesSlides/notesSlide10.xml" ContentType="application/vnd.openxmlformats-officedocument.presentationml.notesSlide+xml"/>
  <Override PartName="/ppt/tags/tag4.xml" ContentType="application/vnd.openxmlformats-officedocument.presentationml.tags+xml"/>
  <Override PartName="/ppt/notesSlides/notesSlide11.xml" ContentType="application/vnd.openxmlformats-officedocument.presentationml.notesSlide+xml"/>
  <Override PartName="/ppt/tags/tag5.xml" ContentType="application/vnd.openxmlformats-officedocument.presentationml.tags+xml"/>
  <Override PartName="/ppt/notesSlides/notesSlide12.xml" ContentType="application/vnd.openxmlformats-officedocument.presentationml.notesSlide+xml"/>
  <Override PartName="/ppt/tags/tag6.xml" ContentType="application/vnd.openxmlformats-officedocument.presentationml.tags+xml"/>
  <Override PartName="/ppt/notesSlides/notesSlide13.xml" ContentType="application/vnd.openxmlformats-officedocument.presentationml.notesSlide+xml"/>
  <Override PartName="/ppt/tags/tag7.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8"/>
    <p:sldMasterId id="2147483698" r:id="rId9"/>
    <p:sldMasterId id="2147483720" r:id="rId10"/>
    <p:sldMasterId id="2147483757" r:id="rId11"/>
    <p:sldMasterId id="2147483781" r:id="rId12"/>
    <p:sldMasterId id="2147483804" r:id="rId13"/>
  </p:sldMasterIdLst>
  <p:notesMasterIdLst>
    <p:notesMasterId r:id="rId37"/>
  </p:notesMasterIdLst>
  <p:sldIdLst>
    <p:sldId id="257" r:id="rId14"/>
    <p:sldId id="399" r:id="rId15"/>
    <p:sldId id="307" r:id="rId16"/>
    <p:sldId id="382" r:id="rId17"/>
    <p:sldId id="378" r:id="rId18"/>
    <p:sldId id="343" r:id="rId19"/>
    <p:sldId id="407" r:id="rId20"/>
    <p:sldId id="397" r:id="rId21"/>
    <p:sldId id="396" r:id="rId22"/>
    <p:sldId id="383" r:id="rId23"/>
    <p:sldId id="384" r:id="rId24"/>
    <p:sldId id="386" r:id="rId25"/>
    <p:sldId id="387" r:id="rId26"/>
    <p:sldId id="388" r:id="rId27"/>
    <p:sldId id="361" r:id="rId28"/>
    <p:sldId id="406" r:id="rId29"/>
    <p:sldId id="392" r:id="rId30"/>
    <p:sldId id="393" r:id="rId31"/>
    <p:sldId id="394" r:id="rId32"/>
    <p:sldId id="381" r:id="rId33"/>
    <p:sldId id="403" r:id="rId34"/>
    <p:sldId id="410" r:id="rId35"/>
    <p:sldId id="367" r:id="rId36"/>
  </p:sldIdLst>
  <p:sldSz cx="12192000" cy="6858000"/>
  <p:notesSz cx="6858000" cy="9144000"/>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sektion" id="{3CDB6198-BC63-43AB-AA9B-4C4A8BA858BA}">
          <p14:sldIdLst>
            <p14:sldId id="257"/>
            <p14:sldId id="399"/>
            <p14:sldId id="307"/>
            <p14:sldId id="382"/>
            <p14:sldId id="378"/>
            <p14:sldId id="343"/>
            <p14:sldId id="407"/>
            <p14:sldId id="397"/>
            <p14:sldId id="396"/>
          </p14:sldIdLst>
        </p14:section>
        <p14:section name="Teams til samarbejde" id="{C4B8B6D9-C073-45E9-BF21-56BB1848D65C}">
          <p14:sldIdLst>
            <p14:sldId id="383"/>
            <p14:sldId id="384"/>
            <p14:sldId id="386"/>
            <p14:sldId id="387"/>
            <p14:sldId id="388"/>
            <p14:sldId id="361"/>
            <p14:sldId id="406"/>
            <p14:sldId id="392"/>
            <p14:sldId id="393"/>
            <p14:sldId id="394"/>
            <p14:sldId id="381"/>
            <p14:sldId id="403"/>
            <p14:sldId id="410"/>
            <p14:sldId id="36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3102"/>
    <a:srgbClr val="D24726"/>
    <a:srgbClr val="5C2D91"/>
    <a:srgbClr val="008272"/>
    <a:srgbClr val="269A5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584" autoAdjust="0"/>
    <p:restoredTop sz="75079" autoAdjust="0"/>
  </p:normalViewPr>
  <p:slideViewPr>
    <p:cSldViewPr snapToGrid="0">
      <p:cViewPr varScale="1">
        <p:scale>
          <a:sx n="86" d="100"/>
          <a:sy n="86" d="100"/>
        </p:scale>
        <p:origin x="27" y="35"/>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slideMaster" Target="slideMasters/slideMaster6.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8.xml"/><Relationship Id="rId34" Type="http://schemas.openxmlformats.org/officeDocument/2006/relationships/slide" Target="slides/slide21.xml"/><Relationship Id="rId7" Type="http://schemas.openxmlformats.org/officeDocument/2006/relationships/customXml" Target="../customXml/item7.xml"/><Relationship Id="rId12" Type="http://schemas.openxmlformats.org/officeDocument/2006/relationships/slideMaster" Target="slideMasters/slideMaster5.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4.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10" Type="http://schemas.openxmlformats.org/officeDocument/2006/relationships/slideMaster" Target="slideMasters/slideMaster3.xml"/><Relationship Id="rId19" Type="http://schemas.openxmlformats.org/officeDocument/2006/relationships/slide" Target="slides/slide6.xml"/><Relationship Id="rId31" Type="http://schemas.openxmlformats.org/officeDocument/2006/relationships/slide" Target="slides/slide18.xml"/><Relationship Id="rId4" Type="http://schemas.openxmlformats.org/officeDocument/2006/relationships/customXml" Target="../customXml/item4.xml"/><Relationship Id="rId9" Type="http://schemas.openxmlformats.org/officeDocument/2006/relationships/slideMaster" Target="slideMasters/slideMaster2.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C1557A8-1DE8-4995-A7CD-347C10C2EAD9}" type="doc">
      <dgm:prSet loTypeId="urn:microsoft.com/office/officeart/2005/8/layout/hProcess6" loCatId="process" qsTypeId="urn:microsoft.com/office/officeart/2005/8/quickstyle/simple5" qsCatId="simple" csTypeId="urn:microsoft.com/office/officeart/2005/8/colors/colorful4" csCatId="colorful" phldr="1"/>
      <dgm:spPr/>
      <dgm:t>
        <a:bodyPr/>
        <a:lstStyle/>
        <a:p>
          <a:endParaRPr lang="da-DK"/>
        </a:p>
      </dgm:t>
    </dgm:pt>
    <dgm:pt modelId="{F512C26F-3F32-4D5F-A506-810A78317188}">
      <dgm:prSet phldrT="[Tekst]"/>
      <dgm:spPr/>
      <dgm:t>
        <a:bodyPr/>
        <a:lstStyle/>
        <a:p>
          <a:r>
            <a:rPr lang="da-DK" dirty="0"/>
            <a:t>1</a:t>
          </a:r>
        </a:p>
      </dgm:t>
    </dgm:pt>
    <dgm:pt modelId="{225290D4-7749-45E7-A5B8-A9F6699DF168}" type="parTrans" cxnId="{57F50C26-7A9B-4992-A104-1F309A74C8B4}">
      <dgm:prSet/>
      <dgm:spPr/>
      <dgm:t>
        <a:bodyPr/>
        <a:lstStyle/>
        <a:p>
          <a:endParaRPr lang="da-DK"/>
        </a:p>
      </dgm:t>
    </dgm:pt>
    <dgm:pt modelId="{BFC01579-FAB3-423E-A79D-DC6508B911BA}" type="sibTrans" cxnId="{57F50C26-7A9B-4992-A104-1F309A74C8B4}">
      <dgm:prSet/>
      <dgm:spPr/>
      <dgm:t>
        <a:bodyPr/>
        <a:lstStyle/>
        <a:p>
          <a:endParaRPr lang="da-DK"/>
        </a:p>
      </dgm:t>
    </dgm:pt>
    <dgm:pt modelId="{D762E94A-72EE-4500-B052-C5D95F3B9382}">
      <dgm:prSet phldrT="[Tekst]"/>
      <dgm:spPr/>
      <dgm:t>
        <a:bodyPr/>
        <a:lstStyle/>
        <a:p>
          <a:r>
            <a:rPr lang="da-DK" dirty="0"/>
            <a:t>Udforsk potentialet, vær nysgerrig</a:t>
          </a:r>
        </a:p>
      </dgm:t>
    </dgm:pt>
    <dgm:pt modelId="{A9A2DDB5-B294-4168-A5F1-49079085A270}" type="parTrans" cxnId="{3C7B87F4-4DD2-451D-9ACA-ED7B00073B1B}">
      <dgm:prSet/>
      <dgm:spPr/>
      <dgm:t>
        <a:bodyPr/>
        <a:lstStyle/>
        <a:p>
          <a:endParaRPr lang="da-DK"/>
        </a:p>
      </dgm:t>
    </dgm:pt>
    <dgm:pt modelId="{EB980678-B9C0-47D8-AAEA-913FEE84F1B6}" type="sibTrans" cxnId="{3C7B87F4-4DD2-451D-9ACA-ED7B00073B1B}">
      <dgm:prSet/>
      <dgm:spPr/>
      <dgm:t>
        <a:bodyPr/>
        <a:lstStyle/>
        <a:p>
          <a:endParaRPr lang="da-DK"/>
        </a:p>
      </dgm:t>
    </dgm:pt>
    <dgm:pt modelId="{0AD17EA0-A908-4F7B-A0EC-139BD24C2C18}">
      <dgm:prSet phldrT="[Tekst]"/>
      <dgm:spPr/>
      <dgm:t>
        <a:bodyPr/>
        <a:lstStyle/>
        <a:p>
          <a:r>
            <a:rPr lang="da-DK" dirty="0"/>
            <a:t>2</a:t>
          </a:r>
        </a:p>
      </dgm:t>
    </dgm:pt>
    <dgm:pt modelId="{1D911F9C-EBBC-496F-B129-B14388AD0E7F}" type="parTrans" cxnId="{6C2E1BDF-EF76-4238-8778-54AAA0E8138B}">
      <dgm:prSet/>
      <dgm:spPr/>
      <dgm:t>
        <a:bodyPr/>
        <a:lstStyle/>
        <a:p>
          <a:endParaRPr lang="da-DK"/>
        </a:p>
      </dgm:t>
    </dgm:pt>
    <dgm:pt modelId="{D9D07FA4-8ACC-444A-8387-9AA35D9C2C58}" type="sibTrans" cxnId="{6C2E1BDF-EF76-4238-8778-54AAA0E8138B}">
      <dgm:prSet/>
      <dgm:spPr/>
      <dgm:t>
        <a:bodyPr/>
        <a:lstStyle/>
        <a:p>
          <a:endParaRPr lang="da-DK"/>
        </a:p>
      </dgm:t>
    </dgm:pt>
    <dgm:pt modelId="{FC290BB0-DD30-4FBF-B461-4AE90D2C3AD9}">
      <dgm:prSet phldrT="[Tekst]"/>
      <dgm:spPr/>
      <dgm:t>
        <a:bodyPr/>
        <a:lstStyle/>
        <a:p>
          <a:r>
            <a:rPr lang="da-DK" dirty="0"/>
            <a:t>Læg en strategi med mål og delmål og involvér i processen</a:t>
          </a:r>
        </a:p>
      </dgm:t>
    </dgm:pt>
    <dgm:pt modelId="{795A1EC7-ADCB-48B5-A48D-A9D71BAA0A93}" type="parTrans" cxnId="{A3747509-6D06-4307-9816-3F2BF580AE70}">
      <dgm:prSet/>
      <dgm:spPr/>
      <dgm:t>
        <a:bodyPr/>
        <a:lstStyle/>
        <a:p>
          <a:endParaRPr lang="da-DK"/>
        </a:p>
      </dgm:t>
    </dgm:pt>
    <dgm:pt modelId="{49C95303-8182-4268-BEA3-C1C88C3B1AA4}" type="sibTrans" cxnId="{A3747509-6D06-4307-9816-3F2BF580AE70}">
      <dgm:prSet/>
      <dgm:spPr/>
      <dgm:t>
        <a:bodyPr/>
        <a:lstStyle/>
        <a:p>
          <a:endParaRPr lang="da-DK"/>
        </a:p>
      </dgm:t>
    </dgm:pt>
    <dgm:pt modelId="{EFFDECF5-55AC-4C78-8F69-608AD0346112}">
      <dgm:prSet phldrT="[Tekst]"/>
      <dgm:spPr/>
      <dgm:t>
        <a:bodyPr/>
        <a:lstStyle/>
        <a:p>
          <a:r>
            <a:rPr lang="da-DK" dirty="0"/>
            <a:t>3</a:t>
          </a:r>
        </a:p>
      </dgm:t>
    </dgm:pt>
    <dgm:pt modelId="{4ACDE9F6-CB7F-4DEA-8CEE-982D9CB9599A}" type="parTrans" cxnId="{F22FB4D9-F312-4A0D-9C40-A9BA2C46D788}">
      <dgm:prSet/>
      <dgm:spPr/>
      <dgm:t>
        <a:bodyPr/>
        <a:lstStyle/>
        <a:p>
          <a:endParaRPr lang="da-DK"/>
        </a:p>
      </dgm:t>
    </dgm:pt>
    <dgm:pt modelId="{C10F916F-FF81-4286-AD7D-B750B010A14F}" type="sibTrans" cxnId="{F22FB4D9-F312-4A0D-9C40-A9BA2C46D788}">
      <dgm:prSet/>
      <dgm:spPr/>
      <dgm:t>
        <a:bodyPr/>
        <a:lstStyle/>
        <a:p>
          <a:endParaRPr lang="da-DK"/>
        </a:p>
      </dgm:t>
    </dgm:pt>
    <dgm:pt modelId="{A9BAA479-7E83-4A9A-9E64-E93ADBFA6C82}">
      <dgm:prSet phldrT="[Tekst]"/>
      <dgm:spPr/>
      <dgm:t>
        <a:bodyPr/>
        <a:lstStyle/>
        <a:p>
          <a:r>
            <a:rPr lang="da-DK" dirty="0"/>
            <a:t>Uddanne medarbejdere, superbrugere og elever</a:t>
          </a:r>
        </a:p>
      </dgm:t>
    </dgm:pt>
    <dgm:pt modelId="{63B225C4-BA4F-427D-8F70-4798381C22D1}" type="parTrans" cxnId="{813C3407-300A-42C5-A65C-D454BEF45E0B}">
      <dgm:prSet/>
      <dgm:spPr/>
      <dgm:t>
        <a:bodyPr/>
        <a:lstStyle/>
        <a:p>
          <a:endParaRPr lang="da-DK"/>
        </a:p>
      </dgm:t>
    </dgm:pt>
    <dgm:pt modelId="{0C6C2D63-10B5-43A0-8CFD-0C0F6C984D3B}" type="sibTrans" cxnId="{813C3407-300A-42C5-A65C-D454BEF45E0B}">
      <dgm:prSet/>
      <dgm:spPr/>
      <dgm:t>
        <a:bodyPr/>
        <a:lstStyle/>
        <a:p>
          <a:endParaRPr lang="da-DK"/>
        </a:p>
      </dgm:t>
    </dgm:pt>
    <dgm:pt modelId="{7D7A75C6-EE93-4415-BDEE-0684FD78126A}" type="pres">
      <dgm:prSet presAssocID="{1C1557A8-1DE8-4995-A7CD-347C10C2EAD9}" presName="theList" presStyleCnt="0">
        <dgm:presLayoutVars>
          <dgm:dir/>
          <dgm:animLvl val="lvl"/>
          <dgm:resizeHandles val="exact"/>
        </dgm:presLayoutVars>
      </dgm:prSet>
      <dgm:spPr/>
    </dgm:pt>
    <dgm:pt modelId="{A1029BCD-3442-41CE-BE89-3D0BA155D607}" type="pres">
      <dgm:prSet presAssocID="{F512C26F-3F32-4D5F-A506-810A78317188}" presName="compNode" presStyleCnt="0"/>
      <dgm:spPr/>
    </dgm:pt>
    <dgm:pt modelId="{6758EFB0-D86D-421B-A376-F80B0032E378}" type="pres">
      <dgm:prSet presAssocID="{F512C26F-3F32-4D5F-A506-810A78317188}" presName="noGeometry" presStyleCnt="0"/>
      <dgm:spPr/>
    </dgm:pt>
    <dgm:pt modelId="{FCA0AD80-11C3-4D22-A2A6-3CB40C62AFF4}" type="pres">
      <dgm:prSet presAssocID="{F512C26F-3F32-4D5F-A506-810A78317188}" presName="childTextVisible" presStyleLbl="bgAccFollowNode1" presStyleIdx="0" presStyleCnt="3">
        <dgm:presLayoutVars>
          <dgm:bulletEnabled val="1"/>
        </dgm:presLayoutVars>
      </dgm:prSet>
      <dgm:spPr/>
    </dgm:pt>
    <dgm:pt modelId="{5D10D345-86CE-4579-A0AA-20D0FF386A1A}" type="pres">
      <dgm:prSet presAssocID="{F512C26F-3F32-4D5F-A506-810A78317188}" presName="childTextHidden" presStyleLbl="bgAccFollowNode1" presStyleIdx="0" presStyleCnt="3"/>
      <dgm:spPr/>
    </dgm:pt>
    <dgm:pt modelId="{1ACD9F46-2E59-46A9-BFEA-B2C1111408A6}" type="pres">
      <dgm:prSet presAssocID="{F512C26F-3F32-4D5F-A506-810A78317188}" presName="parentText" presStyleLbl="node1" presStyleIdx="0" presStyleCnt="3">
        <dgm:presLayoutVars>
          <dgm:chMax val="1"/>
          <dgm:bulletEnabled val="1"/>
        </dgm:presLayoutVars>
      </dgm:prSet>
      <dgm:spPr/>
    </dgm:pt>
    <dgm:pt modelId="{4B854C98-82B2-494B-A8F2-742DA1D943E6}" type="pres">
      <dgm:prSet presAssocID="{F512C26F-3F32-4D5F-A506-810A78317188}" presName="aSpace" presStyleCnt="0"/>
      <dgm:spPr/>
    </dgm:pt>
    <dgm:pt modelId="{6CE8C177-2D3F-4824-AD08-D1D88E09F52C}" type="pres">
      <dgm:prSet presAssocID="{0AD17EA0-A908-4F7B-A0EC-139BD24C2C18}" presName="compNode" presStyleCnt="0"/>
      <dgm:spPr/>
    </dgm:pt>
    <dgm:pt modelId="{98E49ACD-DE61-47BC-8236-6C683A26C7BC}" type="pres">
      <dgm:prSet presAssocID="{0AD17EA0-A908-4F7B-A0EC-139BD24C2C18}" presName="noGeometry" presStyleCnt="0"/>
      <dgm:spPr/>
    </dgm:pt>
    <dgm:pt modelId="{9E17E7CC-8339-45B6-A658-F650F70A3362}" type="pres">
      <dgm:prSet presAssocID="{0AD17EA0-A908-4F7B-A0EC-139BD24C2C18}" presName="childTextVisible" presStyleLbl="bgAccFollowNode1" presStyleIdx="1" presStyleCnt="3">
        <dgm:presLayoutVars>
          <dgm:bulletEnabled val="1"/>
        </dgm:presLayoutVars>
      </dgm:prSet>
      <dgm:spPr/>
    </dgm:pt>
    <dgm:pt modelId="{7491FB8A-A0EC-4681-BE4B-428CDCAFB79B}" type="pres">
      <dgm:prSet presAssocID="{0AD17EA0-A908-4F7B-A0EC-139BD24C2C18}" presName="childTextHidden" presStyleLbl="bgAccFollowNode1" presStyleIdx="1" presStyleCnt="3"/>
      <dgm:spPr/>
    </dgm:pt>
    <dgm:pt modelId="{39E7DE31-8DFD-4C06-91A0-16B69553429F}" type="pres">
      <dgm:prSet presAssocID="{0AD17EA0-A908-4F7B-A0EC-139BD24C2C18}" presName="parentText" presStyleLbl="node1" presStyleIdx="1" presStyleCnt="3">
        <dgm:presLayoutVars>
          <dgm:chMax val="1"/>
          <dgm:bulletEnabled val="1"/>
        </dgm:presLayoutVars>
      </dgm:prSet>
      <dgm:spPr/>
    </dgm:pt>
    <dgm:pt modelId="{E81F50A9-5D7B-459D-99F6-4C5982D03C6C}" type="pres">
      <dgm:prSet presAssocID="{0AD17EA0-A908-4F7B-A0EC-139BD24C2C18}" presName="aSpace" presStyleCnt="0"/>
      <dgm:spPr/>
    </dgm:pt>
    <dgm:pt modelId="{88D477A8-CE98-4DE6-86AA-8BC257DC0001}" type="pres">
      <dgm:prSet presAssocID="{EFFDECF5-55AC-4C78-8F69-608AD0346112}" presName="compNode" presStyleCnt="0"/>
      <dgm:spPr/>
    </dgm:pt>
    <dgm:pt modelId="{FFAE2347-42FA-4B77-9B67-7C5EC7A3E963}" type="pres">
      <dgm:prSet presAssocID="{EFFDECF5-55AC-4C78-8F69-608AD0346112}" presName="noGeometry" presStyleCnt="0"/>
      <dgm:spPr/>
    </dgm:pt>
    <dgm:pt modelId="{6AF16C9C-7DDE-4E3E-9487-939A8BC97CC4}" type="pres">
      <dgm:prSet presAssocID="{EFFDECF5-55AC-4C78-8F69-608AD0346112}" presName="childTextVisible" presStyleLbl="bgAccFollowNode1" presStyleIdx="2" presStyleCnt="3">
        <dgm:presLayoutVars>
          <dgm:bulletEnabled val="1"/>
        </dgm:presLayoutVars>
      </dgm:prSet>
      <dgm:spPr/>
    </dgm:pt>
    <dgm:pt modelId="{EC597B1C-0FF9-4644-A3CC-67BEB4D62E20}" type="pres">
      <dgm:prSet presAssocID="{EFFDECF5-55AC-4C78-8F69-608AD0346112}" presName="childTextHidden" presStyleLbl="bgAccFollowNode1" presStyleIdx="2" presStyleCnt="3"/>
      <dgm:spPr/>
    </dgm:pt>
    <dgm:pt modelId="{EFD0679F-9FE6-437A-B435-433EE528EFB2}" type="pres">
      <dgm:prSet presAssocID="{EFFDECF5-55AC-4C78-8F69-608AD0346112}" presName="parentText" presStyleLbl="node1" presStyleIdx="2" presStyleCnt="3">
        <dgm:presLayoutVars>
          <dgm:chMax val="1"/>
          <dgm:bulletEnabled val="1"/>
        </dgm:presLayoutVars>
      </dgm:prSet>
      <dgm:spPr/>
    </dgm:pt>
  </dgm:ptLst>
  <dgm:cxnLst>
    <dgm:cxn modelId="{813C3407-300A-42C5-A65C-D454BEF45E0B}" srcId="{EFFDECF5-55AC-4C78-8F69-608AD0346112}" destId="{A9BAA479-7E83-4A9A-9E64-E93ADBFA6C82}" srcOrd="0" destOrd="0" parTransId="{63B225C4-BA4F-427D-8F70-4798381C22D1}" sibTransId="{0C6C2D63-10B5-43A0-8CFD-0C0F6C984D3B}"/>
    <dgm:cxn modelId="{A3747509-6D06-4307-9816-3F2BF580AE70}" srcId="{0AD17EA0-A908-4F7B-A0EC-139BD24C2C18}" destId="{FC290BB0-DD30-4FBF-B461-4AE90D2C3AD9}" srcOrd="0" destOrd="0" parTransId="{795A1EC7-ADCB-48B5-A48D-A9D71BAA0A93}" sibTransId="{49C95303-8182-4268-BEA3-C1C88C3B1AA4}"/>
    <dgm:cxn modelId="{6ACEAB18-CBD7-4C99-A743-8EED3B1B90F7}" type="presOf" srcId="{A9BAA479-7E83-4A9A-9E64-E93ADBFA6C82}" destId="{6AF16C9C-7DDE-4E3E-9487-939A8BC97CC4}" srcOrd="0" destOrd="0" presId="urn:microsoft.com/office/officeart/2005/8/layout/hProcess6"/>
    <dgm:cxn modelId="{DB535524-010D-40D7-A4D3-AD7E3E4CDC23}" type="presOf" srcId="{F512C26F-3F32-4D5F-A506-810A78317188}" destId="{1ACD9F46-2E59-46A9-BFEA-B2C1111408A6}" srcOrd="0" destOrd="0" presId="urn:microsoft.com/office/officeart/2005/8/layout/hProcess6"/>
    <dgm:cxn modelId="{57F50C26-7A9B-4992-A104-1F309A74C8B4}" srcId="{1C1557A8-1DE8-4995-A7CD-347C10C2EAD9}" destId="{F512C26F-3F32-4D5F-A506-810A78317188}" srcOrd="0" destOrd="0" parTransId="{225290D4-7749-45E7-A5B8-A9F6699DF168}" sibTransId="{BFC01579-FAB3-423E-A79D-DC6508B911BA}"/>
    <dgm:cxn modelId="{B9959E2A-0590-4A15-A661-33AA36A0935F}" type="presOf" srcId="{1C1557A8-1DE8-4995-A7CD-347C10C2EAD9}" destId="{7D7A75C6-EE93-4415-BDEE-0684FD78126A}" srcOrd="0" destOrd="0" presId="urn:microsoft.com/office/officeart/2005/8/layout/hProcess6"/>
    <dgm:cxn modelId="{8410E542-DB72-4E73-9563-A2D8FD913CFA}" type="presOf" srcId="{A9BAA479-7E83-4A9A-9E64-E93ADBFA6C82}" destId="{EC597B1C-0FF9-4644-A3CC-67BEB4D62E20}" srcOrd="1" destOrd="0" presId="urn:microsoft.com/office/officeart/2005/8/layout/hProcess6"/>
    <dgm:cxn modelId="{DEF76C4E-9A94-4497-AD8B-65D79FC995ED}" type="presOf" srcId="{D762E94A-72EE-4500-B052-C5D95F3B9382}" destId="{FCA0AD80-11C3-4D22-A2A6-3CB40C62AFF4}" srcOrd="0" destOrd="0" presId="urn:microsoft.com/office/officeart/2005/8/layout/hProcess6"/>
    <dgm:cxn modelId="{333F678E-B8C8-4852-A07F-5CBA3FF82290}" type="presOf" srcId="{0AD17EA0-A908-4F7B-A0EC-139BD24C2C18}" destId="{39E7DE31-8DFD-4C06-91A0-16B69553429F}" srcOrd="0" destOrd="0" presId="urn:microsoft.com/office/officeart/2005/8/layout/hProcess6"/>
    <dgm:cxn modelId="{9AB41696-ACA8-4613-92D4-7CE771CD3D23}" type="presOf" srcId="{D762E94A-72EE-4500-B052-C5D95F3B9382}" destId="{5D10D345-86CE-4579-A0AA-20D0FF386A1A}" srcOrd="1" destOrd="0" presId="urn:microsoft.com/office/officeart/2005/8/layout/hProcess6"/>
    <dgm:cxn modelId="{A2B094C2-ACDC-4B86-99C7-80DC380F6F63}" type="presOf" srcId="{FC290BB0-DD30-4FBF-B461-4AE90D2C3AD9}" destId="{9E17E7CC-8339-45B6-A658-F650F70A3362}" srcOrd="0" destOrd="0" presId="urn:microsoft.com/office/officeart/2005/8/layout/hProcess6"/>
    <dgm:cxn modelId="{17BC5ECD-BF7E-415E-80F1-448F90CDA9B0}" type="presOf" srcId="{EFFDECF5-55AC-4C78-8F69-608AD0346112}" destId="{EFD0679F-9FE6-437A-B435-433EE528EFB2}" srcOrd="0" destOrd="0" presId="urn:microsoft.com/office/officeart/2005/8/layout/hProcess6"/>
    <dgm:cxn modelId="{2E4117D7-14CB-4B2B-843A-AD8BB935029F}" type="presOf" srcId="{FC290BB0-DD30-4FBF-B461-4AE90D2C3AD9}" destId="{7491FB8A-A0EC-4681-BE4B-428CDCAFB79B}" srcOrd="1" destOrd="0" presId="urn:microsoft.com/office/officeart/2005/8/layout/hProcess6"/>
    <dgm:cxn modelId="{F22FB4D9-F312-4A0D-9C40-A9BA2C46D788}" srcId="{1C1557A8-1DE8-4995-A7CD-347C10C2EAD9}" destId="{EFFDECF5-55AC-4C78-8F69-608AD0346112}" srcOrd="2" destOrd="0" parTransId="{4ACDE9F6-CB7F-4DEA-8CEE-982D9CB9599A}" sibTransId="{C10F916F-FF81-4286-AD7D-B750B010A14F}"/>
    <dgm:cxn modelId="{6C2E1BDF-EF76-4238-8778-54AAA0E8138B}" srcId="{1C1557A8-1DE8-4995-A7CD-347C10C2EAD9}" destId="{0AD17EA0-A908-4F7B-A0EC-139BD24C2C18}" srcOrd="1" destOrd="0" parTransId="{1D911F9C-EBBC-496F-B129-B14388AD0E7F}" sibTransId="{D9D07FA4-8ACC-444A-8387-9AA35D9C2C58}"/>
    <dgm:cxn modelId="{3C7B87F4-4DD2-451D-9ACA-ED7B00073B1B}" srcId="{F512C26F-3F32-4D5F-A506-810A78317188}" destId="{D762E94A-72EE-4500-B052-C5D95F3B9382}" srcOrd="0" destOrd="0" parTransId="{A9A2DDB5-B294-4168-A5F1-49079085A270}" sibTransId="{EB980678-B9C0-47D8-AAEA-913FEE84F1B6}"/>
    <dgm:cxn modelId="{43BD69D9-988A-4A92-BA6D-2B1E113ACB76}" type="presParOf" srcId="{7D7A75C6-EE93-4415-BDEE-0684FD78126A}" destId="{A1029BCD-3442-41CE-BE89-3D0BA155D607}" srcOrd="0" destOrd="0" presId="urn:microsoft.com/office/officeart/2005/8/layout/hProcess6"/>
    <dgm:cxn modelId="{98DB67D0-DADE-4F4C-B0CF-8A9595F4819A}" type="presParOf" srcId="{A1029BCD-3442-41CE-BE89-3D0BA155D607}" destId="{6758EFB0-D86D-421B-A376-F80B0032E378}" srcOrd="0" destOrd="0" presId="urn:microsoft.com/office/officeart/2005/8/layout/hProcess6"/>
    <dgm:cxn modelId="{E979916E-BA94-4B35-986C-09BDC09DECA5}" type="presParOf" srcId="{A1029BCD-3442-41CE-BE89-3D0BA155D607}" destId="{FCA0AD80-11C3-4D22-A2A6-3CB40C62AFF4}" srcOrd="1" destOrd="0" presId="urn:microsoft.com/office/officeart/2005/8/layout/hProcess6"/>
    <dgm:cxn modelId="{44EB9335-0E51-4C7C-8925-50B253CA5D4A}" type="presParOf" srcId="{A1029BCD-3442-41CE-BE89-3D0BA155D607}" destId="{5D10D345-86CE-4579-A0AA-20D0FF386A1A}" srcOrd="2" destOrd="0" presId="urn:microsoft.com/office/officeart/2005/8/layout/hProcess6"/>
    <dgm:cxn modelId="{D413E8ED-1C08-49CB-9863-CEE4CCAEA590}" type="presParOf" srcId="{A1029BCD-3442-41CE-BE89-3D0BA155D607}" destId="{1ACD9F46-2E59-46A9-BFEA-B2C1111408A6}" srcOrd="3" destOrd="0" presId="urn:microsoft.com/office/officeart/2005/8/layout/hProcess6"/>
    <dgm:cxn modelId="{DC7D712F-8840-4793-969E-7095C1988103}" type="presParOf" srcId="{7D7A75C6-EE93-4415-BDEE-0684FD78126A}" destId="{4B854C98-82B2-494B-A8F2-742DA1D943E6}" srcOrd="1" destOrd="0" presId="urn:microsoft.com/office/officeart/2005/8/layout/hProcess6"/>
    <dgm:cxn modelId="{8BC5B4DE-1EC7-40EF-8F49-BDE084F3C9C2}" type="presParOf" srcId="{7D7A75C6-EE93-4415-BDEE-0684FD78126A}" destId="{6CE8C177-2D3F-4824-AD08-D1D88E09F52C}" srcOrd="2" destOrd="0" presId="urn:microsoft.com/office/officeart/2005/8/layout/hProcess6"/>
    <dgm:cxn modelId="{50F4C24B-1BFF-4599-99CC-3D2E8D3D27D6}" type="presParOf" srcId="{6CE8C177-2D3F-4824-AD08-D1D88E09F52C}" destId="{98E49ACD-DE61-47BC-8236-6C683A26C7BC}" srcOrd="0" destOrd="0" presId="urn:microsoft.com/office/officeart/2005/8/layout/hProcess6"/>
    <dgm:cxn modelId="{C9049765-6212-4ABB-9E3B-807D2603346E}" type="presParOf" srcId="{6CE8C177-2D3F-4824-AD08-D1D88E09F52C}" destId="{9E17E7CC-8339-45B6-A658-F650F70A3362}" srcOrd="1" destOrd="0" presId="urn:microsoft.com/office/officeart/2005/8/layout/hProcess6"/>
    <dgm:cxn modelId="{FC86214E-31E0-4419-A3CB-1B1B882D51B6}" type="presParOf" srcId="{6CE8C177-2D3F-4824-AD08-D1D88E09F52C}" destId="{7491FB8A-A0EC-4681-BE4B-428CDCAFB79B}" srcOrd="2" destOrd="0" presId="urn:microsoft.com/office/officeart/2005/8/layout/hProcess6"/>
    <dgm:cxn modelId="{F82775C9-F5CF-4868-95C8-BA9EC14D5DD4}" type="presParOf" srcId="{6CE8C177-2D3F-4824-AD08-D1D88E09F52C}" destId="{39E7DE31-8DFD-4C06-91A0-16B69553429F}" srcOrd="3" destOrd="0" presId="urn:microsoft.com/office/officeart/2005/8/layout/hProcess6"/>
    <dgm:cxn modelId="{E6990258-AC3F-4D91-B9B4-F01B7E3ED02F}" type="presParOf" srcId="{7D7A75C6-EE93-4415-BDEE-0684FD78126A}" destId="{E81F50A9-5D7B-459D-99F6-4C5982D03C6C}" srcOrd="3" destOrd="0" presId="urn:microsoft.com/office/officeart/2005/8/layout/hProcess6"/>
    <dgm:cxn modelId="{734011B8-3D9D-40AB-A4DA-0C71F1DFFA12}" type="presParOf" srcId="{7D7A75C6-EE93-4415-BDEE-0684FD78126A}" destId="{88D477A8-CE98-4DE6-86AA-8BC257DC0001}" srcOrd="4" destOrd="0" presId="urn:microsoft.com/office/officeart/2005/8/layout/hProcess6"/>
    <dgm:cxn modelId="{5025F989-D67C-4E5E-85E3-DAFCA8B791B9}" type="presParOf" srcId="{88D477A8-CE98-4DE6-86AA-8BC257DC0001}" destId="{FFAE2347-42FA-4B77-9B67-7C5EC7A3E963}" srcOrd="0" destOrd="0" presId="urn:microsoft.com/office/officeart/2005/8/layout/hProcess6"/>
    <dgm:cxn modelId="{4ED28B30-7491-4648-BCA1-5B4E58C0F4FD}" type="presParOf" srcId="{88D477A8-CE98-4DE6-86AA-8BC257DC0001}" destId="{6AF16C9C-7DDE-4E3E-9487-939A8BC97CC4}" srcOrd="1" destOrd="0" presId="urn:microsoft.com/office/officeart/2005/8/layout/hProcess6"/>
    <dgm:cxn modelId="{1BD15C24-A45D-438C-8703-FB8788CFE1C7}" type="presParOf" srcId="{88D477A8-CE98-4DE6-86AA-8BC257DC0001}" destId="{EC597B1C-0FF9-4644-A3CC-67BEB4D62E20}" srcOrd="2" destOrd="0" presId="urn:microsoft.com/office/officeart/2005/8/layout/hProcess6"/>
    <dgm:cxn modelId="{E9560EB3-7D79-46A1-8CA2-6FA5872FBFC1}" type="presParOf" srcId="{88D477A8-CE98-4DE6-86AA-8BC257DC0001}" destId="{EFD0679F-9FE6-437A-B435-433EE528EFB2}" srcOrd="3" destOrd="0" presId="urn:microsoft.com/office/officeart/2005/8/layout/hProcess6"/>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4AB8DD2-0CF6-4A88-B518-0F3DB79131A6}"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da-DK"/>
        </a:p>
      </dgm:t>
    </dgm:pt>
    <dgm:pt modelId="{C6F19139-F737-489D-959E-3F4FB49789D5}">
      <dgm:prSet phldrT="[Tekst]"/>
      <dgm:spPr/>
      <dgm:t>
        <a:bodyPr/>
        <a:lstStyle/>
        <a:p>
          <a:r>
            <a:rPr lang="da-DK" dirty="0"/>
            <a:t>Matematik</a:t>
          </a:r>
        </a:p>
      </dgm:t>
    </dgm:pt>
    <dgm:pt modelId="{D72F03BA-6F67-4543-8E5D-987BB1DF5732}" type="parTrans" cxnId="{21750ABB-FB86-4D08-B6DD-77ABA2E07260}">
      <dgm:prSet/>
      <dgm:spPr/>
      <dgm:t>
        <a:bodyPr/>
        <a:lstStyle/>
        <a:p>
          <a:endParaRPr lang="da-DK"/>
        </a:p>
      </dgm:t>
    </dgm:pt>
    <dgm:pt modelId="{9A08339F-11D1-4B5B-A4E2-04F53D37FF46}" type="sibTrans" cxnId="{21750ABB-FB86-4D08-B6DD-77ABA2E07260}">
      <dgm:prSet/>
      <dgm:spPr/>
      <dgm:t>
        <a:bodyPr/>
        <a:lstStyle/>
        <a:p>
          <a:endParaRPr lang="da-DK"/>
        </a:p>
      </dgm:t>
    </dgm:pt>
    <dgm:pt modelId="{ABB7C20D-638F-44F2-992F-1BEC6C490ECC}">
      <dgm:prSet phldrT="[Tekst]"/>
      <dgm:spPr/>
      <dgm:t>
        <a:bodyPr/>
        <a:lstStyle/>
        <a:p>
          <a:r>
            <a:rPr lang="da-DK" dirty="0"/>
            <a:t>Generelt</a:t>
          </a:r>
        </a:p>
      </dgm:t>
    </dgm:pt>
    <dgm:pt modelId="{4EA357AB-0AA8-41BC-908C-02D487A9015A}" type="parTrans" cxnId="{511BD359-3B67-4ED6-9592-3D8B98DADEDA}">
      <dgm:prSet/>
      <dgm:spPr/>
      <dgm:t>
        <a:bodyPr/>
        <a:lstStyle/>
        <a:p>
          <a:endParaRPr lang="da-DK"/>
        </a:p>
      </dgm:t>
    </dgm:pt>
    <dgm:pt modelId="{88C7C94E-7A2C-4A68-8FEB-C04E2230847F}" type="sibTrans" cxnId="{511BD359-3B67-4ED6-9592-3D8B98DADEDA}">
      <dgm:prSet/>
      <dgm:spPr/>
      <dgm:t>
        <a:bodyPr/>
        <a:lstStyle/>
        <a:p>
          <a:endParaRPr lang="da-DK"/>
        </a:p>
      </dgm:t>
    </dgm:pt>
    <dgm:pt modelId="{DEC517D4-BF7D-4D4B-804D-DCB39487FE9C}">
      <dgm:prSet phldrT="[Tekst]"/>
      <dgm:spPr/>
      <dgm:t>
        <a:bodyPr/>
        <a:lstStyle/>
        <a:p>
          <a:r>
            <a:rPr lang="da-DK" dirty="0"/>
            <a:t>Samtaler</a:t>
          </a:r>
        </a:p>
      </dgm:t>
    </dgm:pt>
    <dgm:pt modelId="{C0CAB4CD-3271-4380-A75F-9F0C19FC3D48}" type="parTrans" cxnId="{9042F778-B229-4AE0-B9B8-3EF254C4519F}">
      <dgm:prSet/>
      <dgm:spPr/>
      <dgm:t>
        <a:bodyPr/>
        <a:lstStyle/>
        <a:p>
          <a:endParaRPr lang="da-DK"/>
        </a:p>
      </dgm:t>
    </dgm:pt>
    <dgm:pt modelId="{EC3EB5A3-A39C-458E-8BDB-943EEFB73D4A}" type="sibTrans" cxnId="{9042F778-B229-4AE0-B9B8-3EF254C4519F}">
      <dgm:prSet/>
      <dgm:spPr/>
      <dgm:t>
        <a:bodyPr/>
        <a:lstStyle/>
        <a:p>
          <a:endParaRPr lang="da-DK"/>
        </a:p>
      </dgm:t>
    </dgm:pt>
    <dgm:pt modelId="{4C8CAE3C-14F9-4E03-8E75-CAD152121842}">
      <dgm:prSet phldrT="[Tekst]"/>
      <dgm:spPr/>
      <dgm:t>
        <a:bodyPr/>
        <a:lstStyle/>
        <a:p>
          <a:r>
            <a:rPr lang="da-DK" dirty="0"/>
            <a:t>Filer</a:t>
          </a:r>
        </a:p>
      </dgm:t>
    </dgm:pt>
    <dgm:pt modelId="{90064EB4-9133-4324-B3F0-D7C87BFCD619}" type="parTrans" cxnId="{E67AE708-DDA2-44DE-BE23-0F655E6B0B67}">
      <dgm:prSet/>
      <dgm:spPr/>
      <dgm:t>
        <a:bodyPr/>
        <a:lstStyle/>
        <a:p>
          <a:endParaRPr lang="da-DK"/>
        </a:p>
      </dgm:t>
    </dgm:pt>
    <dgm:pt modelId="{77AEE9ED-B8C2-4BEB-BB8D-E0CCC0AD7F96}" type="sibTrans" cxnId="{E67AE708-DDA2-44DE-BE23-0F655E6B0B67}">
      <dgm:prSet/>
      <dgm:spPr/>
      <dgm:t>
        <a:bodyPr/>
        <a:lstStyle/>
        <a:p>
          <a:endParaRPr lang="da-DK"/>
        </a:p>
      </dgm:t>
    </dgm:pt>
    <dgm:pt modelId="{E93C4451-FCB3-4E9E-958D-9EE96A626B75}">
      <dgm:prSet phldrT="[Tekst]"/>
      <dgm:spPr>
        <a:solidFill>
          <a:schemeClr val="tx2">
            <a:lumMod val="60000"/>
            <a:lumOff val="40000"/>
          </a:schemeClr>
        </a:solidFill>
      </dgm:spPr>
      <dgm:t>
        <a:bodyPr/>
        <a:lstStyle/>
        <a:p>
          <a:r>
            <a:rPr lang="da-DK" dirty="0"/>
            <a:t>(Ny kanal)</a:t>
          </a:r>
        </a:p>
      </dgm:t>
    </dgm:pt>
    <dgm:pt modelId="{75FBBDB8-B7F6-422F-8338-D582EE4F5F6E}" type="parTrans" cxnId="{0BF26DAF-24EB-4BB9-AB47-62BBCBF3C106}">
      <dgm:prSet/>
      <dgm:spPr/>
      <dgm:t>
        <a:bodyPr/>
        <a:lstStyle/>
        <a:p>
          <a:endParaRPr lang="da-DK"/>
        </a:p>
      </dgm:t>
    </dgm:pt>
    <dgm:pt modelId="{D4FC9217-E878-44CA-99D9-67498B944BAE}" type="sibTrans" cxnId="{0BF26DAF-24EB-4BB9-AB47-62BBCBF3C106}">
      <dgm:prSet/>
      <dgm:spPr/>
      <dgm:t>
        <a:bodyPr/>
        <a:lstStyle/>
        <a:p>
          <a:endParaRPr lang="da-DK"/>
        </a:p>
      </dgm:t>
    </dgm:pt>
    <dgm:pt modelId="{9771BA2B-79E6-4A03-8CAF-2ECEDC0B84C3}">
      <dgm:prSet phldrT="[Tekst]"/>
      <dgm:spPr>
        <a:solidFill>
          <a:schemeClr val="tx2">
            <a:lumMod val="60000"/>
            <a:lumOff val="40000"/>
          </a:schemeClr>
        </a:solidFill>
      </dgm:spPr>
      <dgm:t>
        <a:bodyPr/>
        <a:lstStyle/>
        <a:p>
          <a:r>
            <a:rPr lang="da-DK" dirty="0"/>
            <a:t>(Samtaler)</a:t>
          </a:r>
        </a:p>
      </dgm:t>
    </dgm:pt>
    <dgm:pt modelId="{C806888B-FE09-47BF-A9C2-FC7420C5E93C}" type="parTrans" cxnId="{6816179A-F60A-4EA6-B014-6F11F6D3FFC9}">
      <dgm:prSet/>
      <dgm:spPr/>
      <dgm:t>
        <a:bodyPr/>
        <a:lstStyle/>
        <a:p>
          <a:endParaRPr lang="da-DK"/>
        </a:p>
      </dgm:t>
    </dgm:pt>
    <dgm:pt modelId="{98372706-EAA0-4FB0-A116-77EC97FF14D0}" type="sibTrans" cxnId="{6816179A-F60A-4EA6-B014-6F11F6D3FFC9}">
      <dgm:prSet/>
      <dgm:spPr/>
      <dgm:t>
        <a:bodyPr/>
        <a:lstStyle/>
        <a:p>
          <a:endParaRPr lang="da-DK"/>
        </a:p>
      </dgm:t>
    </dgm:pt>
    <dgm:pt modelId="{19E41330-0A12-42A1-A46D-302B8F4811EA}">
      <dgm:prSet/>
      <dgm:spPr/>
      <dgm:t>
        <a:bodyPr/>
        <a:lstStyle/>
        <a:p>
          <a:r>
            <a:rPr lang="da-DK" dirty="0"/>
            <a:t>Klassenotesbog</a:t>
          </a:r>
        </a:p>
      </dgm:t>
    </dgm:pt>
    <dgm:pt modelId="{9D01028B-E284-4449-9F37-9EC0D53F72B1}" type="parTrans" cxnId="{643C5D7C-B3C7-4298-A3D3-1915EBD4B65B}">
      <dgm:prSet/>
      <dgm:spPr/>
      <dgm:t>
        <a:bodyPr/>
        <a:lstStyle/>
        <a:p>
          <a:endParaRPr lang="da-DK"/>
        </a:p>
      </dgm:t>
    </dgm:pt>
    <dgm:pt modelId="{9F445C47-3DDF-4F6B-9BCB-46C48FA113ED}" type="sibTrans" cxnId="{643C5D7C-B3C7-4298-A3D3-1915EBD4B65B}">
      <dgm:prSet/>
      <dgm:spPr/>
      <dgm:t>
        <a:bodyPr/>
        <a:lstStyle/>
        <a:p>
          <a:endParaRPr lang="da-DK"/>
        </a:p>
      </dgm:t>
    </dgm:pt>
    <dgm:pt modelId="{DB202DD4-24AC-4B12-B42B-FDAA3D95307A}">
      <dgm:prSet/>
      <dgm:spPr/>
      <dgm:t>
        <a:bodyPr/>
        <a:lstStyle/>
        <a:p>
          <a:r>
            <a:rPr lang="da-DK" dirty="0"/>
            <a:t>Opgaver</a:t>
          </a:r>
        </a:p>
      </dgm:t>
    </dgm:pt>
    <dgm:pt modelId="{65AA46E0-6095-469C-845E-D7A2332480EA}" type="parTrans" cxnId="{FB47B695-277B-4600-AAA3-F66A54F12B04}">
      <dgm:prSet/>
      <dgm:spPr/>
      <dgm:t>
        <a:bodyPr/>
        <a:lstStyle/>
        <a:p>
          <a:endParaRPr lang="da-DK"/>
        </a:p>
      </dgm:t>
    </dgm:pt>
    <dgm:pt modelId="{884AB0F4-7DA8-4E24-AED1-614A5C710A63}" type="sibTrans" cxnId="{FB47B695-277B-4600-AAA3-F66A54F12B04}">
      <dgm:prSet/>
      <dgm:spPr/>
      <dgm:t>
        <a:bodyPr/>
        <a:lstStyle/>
        <a:p>
          <a:endParaRPr lang="da-DK"/>
        </a:p>
      </dgm:t>
    </dgm:pt>
    <dgm:pt modelId="{47E001C0-A62F-4CEE-A18D-89BE62A33073}">
      <dgm:prSet/>
      <dgm:spPr>
        <a:solidFill>
          <a:schemeClr val="tx2">
            <a:lumMod val="60000"/>
            <a:lumOff val="40000"/>
          </a:schemeClr>
        </a:solidFill>
      </dgm:spPr>
      <dgm:t>
        <a:bodyPr/>
        <a:lstStyle/>
        <a:p>
          <a:r>
            <a:rPr lang="da-DK" dirty="0"/>
            <a:t>(Filer)</a:t>
          </a:r>
        </a:p>
      </dgm:t>
    </dgm:pt>
    <dgm:pt modelId="{D4167758-5EC2-4BBD-9056-A3D6090389AD}" type="parTrans" cxnId="{88A369DA-F493-4D83-90A3-89D43C6CA0A3}">
      <dgm:prSet/>
      <dgm:spPr/>
      <dgm:t>
        <a:bodyPr/>
        <a:lstStyle/>
        <a:p>
          <a:endParaRPr lang="da-DK"/>
        </a:p>
      </dgm:t>
    </dgm:pt>
    <dgm:pt modelId="{1AFA6F9C-4C12-43B3-A541-2F478449F555}" type="sibTrans" cxnId="{88A369DA-F493-4D83-90A3-89D43C6CA0A3}">
      <dgm:prSet/>
      <dgm:spPr/>
      <dgm:t>
        <a:bodyPr/>
        <a:lstStyle/>
        <a:p>
          <a:endParaRPr lang="da-DK"/>
        </a:p>
      </dgm:t>
    </dgm:pt>
    <dgm:pt modelId="{F62B1AD7-7771-45AF-BAFF-B3FAD0078CE3}" type="pres">
      <dgm:prSet presAssocID="{64AB8DD2-0CF6-4A88-B518-0F3DB79131A6}" presName="diagram" presStyleCnt="0">
        <dgm:presLayoutVars>
          <dgm:chPref val="1"/>
          <dgm:dir/>
          <dgm:animOne val="branch"/>
          <dgm:animLvl val="lvl"/>
          <dgm:resizeHandles val="exact"/>
        </dgm:presLayoutVars>
      </dgm:prSet>
      <dgm:spPr/>
    </dgm:pt>
    <dgm:pt modelId="{9AD755C9-4693-457E-B422-694948AFE33C}" type="pres">
      <dgm:prSet presAssocID="{C6F19139-F737-489D-959E-3F4FB49789D5}" presName="root1" presStyleCnt="0"/>
      <dgm:spPr/>
    </dgm:pt>
    <dgm:pt modelId="{258566FB-08B7-4DB1-A996-37BC3B9F10E7}" type="pres">
      <dgm:prSet presAssocID="{C6F19139-F737-489D-959E-3F4FB49789D5}" presName="LevelOneTextNode" presStyleLbl="node0" presStyleIdx="0" presStyleCnt="1">
        <dgm:presLayoutVars>
          <dgm:chPref val="3"/>
        </dgm:presLayoutVars>
      </dgm:prSet>
      <dgm:spPr/>
    </dgm:pt>
    <dgm:pt modelId="{C1F6DD37-D6A4-49A6-80D5-B9968FD53B6A}" type="pres">
      <dgm:prSet presAssocID="{C6F19139-F737-489D-959E-3F4FB49789D5}" presName="level2hierChild" presStyleCnt="0"/>
      <dgm:spPr/>
    </dgm:pt>
    <dgm:pt modelId="{43A4B327-4978-4ABC-9D99-1C54BA1C1BAA}" type="pres">
      <dgm:prSet presAssocID="{4EA357AB-0AA8-41BC-908C-02D487A9015A}" presName="conn2-1" presStyleLbl="parChTrans1D2" presStyleIdx="0" presStyleCnt="2"/>
      <dgm:spPr/>
    </dgm:pt>
    <dgm:pt modelId="{DD98CAE7-D05E-4591-95ED-84FFF3C9F16F}" type="pres">
      <dgm:prSet presAssocID="{4EA357AB-0AA8-41BC-908C-02D487A9015A}" presName="connTx" presStyleLbl="parChTrans1D2" presStyleIdx="0" presStyleCnt="2"/>
      <dgm:spPr/>
    </dgm:pt>
    <dgm:pt modelId="{0CCD3823-7749-4F75-936E-4D9E36536F21}" type="pres">
      <dgm:prSet presAssocID="{ABB7C20D-638F-44F2-992F-1BEC6C490ECC}" presName="root2" presStyleCnt="0"/>
      <dgm:spPr/>
    </dgm:pt>
    <dgm:pt modelId="{18984D80-E917-421D-84D3-2B3FA0BD31B2}" type="pres">
      <dgm:prSet presAssocID="{ABB7C20D-638F-44F2-992F-1BEC6C490ECC}" presName="LevelTwoTextNode" presStyleLbl="node2" presStyleIdx="0" presStyleCnt="2">
        <dgm:presLayoutVars>
          <dgm:chPref val="3"/>
        </dgm:presLayoutVars>
      </dgm:prSet>
      <dgm:spPr/>
    </dgm:pt>
    <dgm:pt modelId="{C1A6C292-F18D-4869-8C8A-B3ED7E8A3E43}" type="pres">
      <dgm:prSet presAssocID="{ABB7C20D-638F-44F2-992F-1BEC6C490ECC}" presName="level3hierChild" presStyleCnt="0"/>
      <dgm:spPr/>
    </dgm:pt>
    <dgm:pt modelId="{82C0B65A-1CA8-4F51-BFAE-7584C09DBBDE}" type="pres">
      <dgm:prSet presAssocID="{C0CAB4CD-3271-4380-A75F-9F0C19FC3D48}" presName="conn2-1" presStyleLbl="parChTrans1D3" presStyleIdx="0" presStyleCnt="6"/>
      <dgm:spPr/>
    </dgm:pt>
    <dgm:pt modelId="{09204AB6-016D-42BE-9B92-44BCF16FF8BA}" type="pres">
      <dgm:prSet presAssocID="{C0CAB4CD-3271-4380-A75F-9F0C19FC3D48}" presName="connTx" presStyleLbl="parChTrans1D3" presStyleIdx="0" presStyleCnt="6"/>
      <dgm:spPr/>
    </dgm:pt>
    <dgm:pt modelId="{87C4F32B-522C-4810-A787-561C1DF3993A}" type="pres">
      <dgm:prSet presAssocID="{DEC517D4-BF7D-4D4B-804D-DCB39487FE9C}" presName="root2" presStyleCnt="0"/>
      <dgm:spPr/>
    </dgm:pt>
    <dgm:pt modelId="{4CB2B94D-37B2-42FA-8908-0E8E2D41DE71}" type="pres">
      <dgm:prSet presAssocID="{DEC517D4-BF7D-4D4B-804D-DCB39487FE9C}" presName="LevelTwoTextNode" presStyleLbl="node3" presStyleIdx="0" presStyleCnt="6">
        <dgm:presLayoutVars>
          <dgm:chPref val="3"/>
        </dgm:presLayoutVars>
      </dgm:prSet>
      <dgm:spPr/>
    </dgm:pt>
    <dgm:pt modelId="{CA29D383-2301-4EE7-A04E-AE869DEDC330}" type="pres">
      <dgm:prSet presAssocID="{DEC517D4-BF7D-4D4B-804D-DCB39487FE9C}" presName="level3hierChild" presStyleCnt="0"/>
      <dgm:spPr/>
    </dgm:pt>
    <dgm:pt modelId="{D7CC8482-669B-471C-8BF2-4415CFB53EE5}" type="pres">
      <dgm:prSet presAssocID="{90064EB4-9133-4324-B3F0-D7C87BFCD619}" presName="conn2-1" presStyleLbl="parChTrans1D3" presStyleIdx="1" presStyleCnt="6"/>
      <dgm:spPr/>
    </dgm:pt>
    <dgm:pt modelId="{72029D43-C803-4861-BFBE-AE14F45F1324}" type="pres">
      <dgm:prSet presAssocID="{90064EB4-9133-4324-B3F0-D7C87BFCD619}" presName="connTx" presStyleLbl="parChTrans1D3" presStyleIdx="1" presStyleCnt="6"/>
      <dgm:spPr/>
    </dgm:pt>
    <dgm:pt modelId="{52ABC0A0-4090-4003-B5EF-13BCAD25D8DB}" type="pres">
      <dgm:prSet presAssocID="{4C8CAE3C-14F9-4E03-8E75-CAD152121842}" presName="root2" presStyleCnt="0"/>
      <dgm:spPr/>
    </dgm:pt>
    <dgm:pt modelId="{FC04DA1C-A36E-479E-967A-95D1A1B18CEA}" type="pres">
      <dgm:prSet presAssocID="{4C8CAE3C-14F9-4E03-8E75-CAD152121842}" presName="LevelTwoTextNode" presStyleLbl="node3" presStyleIdx="1" presStyleCnt="6">
        <dgm:presLayoutVars>
          <dgm:chPref val="3"/>
        </dgm:presLayoutVars>
      </dgm:prSet>
      <dgm:spPr/>
    </dgm:pt>
    <dgm:pt modelId="{F2F3E713-327E-4BB0-90DB-5000C123F3A8}" type="pres">
      <dgm:prSet presAssocID="{4C8CAE3C-14F9-4E03-8E75-CAD152121842}" presName="level3hierChild" presStyleCnt="0"/>
      <dgm:spPr/>
    </dgm:pt>
    <dgm:pt modelId="{A64CB1AD-0103-4BEF-998C-CF93C9E0B84F}" type="pres">
      <dgm:prSet presAssocID="{9D01028B-E284-4449-9F37-9EC0D53F72B1}" presName="conn2-1" presStyleLbl="parChTrans1D3" presStyleIdx="2" presStyleCnt="6"/>
      <dgm:spPr/>
    </dgm:pt>
    <dgm:pt modelId="{058F7596-3A40-40E8-850C-62F914A23E3B}" type="pres">
      <dgm:prSet presAssocID="{9D01028B-E284-4449-9F37-9EC0D53F72B1}" presName="connTx" presStyleLbl="parChTrans1D3" presStyleIdx="2" presStyleCnt="6"/>
      <dgm:spPr/>
    </dgm:pt>
    <dgm:pt modelId="{E2079C48-9E3E-4371-BB3F-A4D5712E22AC}" type="pres">
      <dgm:prSet presAssocID="{19E41330-0A12-42A1-A46D-302B8F4811EA}" presName="root2" presStyleCnt="0"/>
      <dgm:spPr/>
    </dgm:pt>
    <dgm:pt modelId="{A6F405E3-D6DC-45F2-A634-0D32B221C293}" type="pres">
      <dgm:prSet presAssocID="{19E41330-0A12-42A1-A46D-302B8F4811EA}" presName="LevelTwoTextNode" presStyleLbl="node3" presStyleIdx="2" presStyleCnt="6">
        <dgm:presLayoutVars>
          <dgm:chPref val="3"/>
        </dgm:presLayoutVars>
      </dgm:prSet>
      <dgm:spPr/>
    </dgm:pt>
    <dgm:pt modelId="{11B280B1-4CC6-4113-B51B-1116A825BE01}" type="pres">
      <dgm:prSet presAssocID="{19E41330-0A12-42A1-A46D-302B8F4811EA}" presName="level3hierChild" presStyleCnt="0"/>
      <dgm:spPr/>
    </dgm:pt>
    <dgm:pt modelId="{4FF4CD90-CEEE-451B-A6D1-4258FF91A20E}" type="pres">
      <dgm:prSet presAssocID="{65AA46E0-6095-469C-845E-D7A2332480EA}" presName="conn2-1" presStyleLbl="parChTrans1D3" presStyleIdx="3" presStyleCnt="6"/>
      <dgm:spPr/>
    </dgm:pt>
    <dgm:pt modelId="{D7C80FD5-245E-43F1-B17C-7534F8951A64}" type="pres">
      <dgm:prSet presAssocID="{65AA46E0-6095-469C-845E-D7A2332480EA}" presName="connTx" presStyleLbl="parChTrans1D3" presStyleIdx="3" presStyleCnt="6"/>
      <dgm:spPr/>
    </dgm:pt>
    <dgm:pt modelId="{178CB6B5-5519-4841-BA9C-C4F7B5378AB0}" type="pres">
      <dgm:prSet presAssocID="{DB202DD4-24AC-4B12-B42B-FDAA3D95307A}" presName="root2" presStyleCnt="0"/>
      <dgm:spPr/>
    </dgm:pt>
    <dgm:pt modelId="{3E1A50CF-9775-457B-85EA-C7DD8AF2FA9B}" type="pres">
      <dgm:prSet presAssocID="{DB202DD4-24AC-4B12-B42B-FDAA3D95307A}" presName="LevelTwoTextNode" presStyleLbl="node3" presStyleIdx="3" presStyleCnt="6">
        <dgm:presLayoutVars>
          <dgm:chPref val="3"/>
        </dgm:presLayoutVars>
      </dgm:prSet>
      <dgm:spPr/>
    </dgm:pt>
    <dgm:pt modelId="{42DDD1CC-3300-4502-8407-555142F37153}" type="pres">
      <dgm:prSet presAssocID="{DB202DD4-24AC-4B12-B42B-FDAA3D95307A}" presName="level3hierChild" presStyleCnt="0"/>
      <dgm:spPr/>
    </dgm:pt>
    <dgm:pt modelId="{1AF50C2F-A329-4921-805B-E51367A8F3E8}" type="pres">
      <dgm:prSet presAssocID="{75FBBDB8-B7F6-422F-8338-D582EE4F5F6E}" presName="conn2-1" presStyleLbl="parChTrans1D2" presStyleIdx="1" presStyleCnt="2"/>
      <dgm:spPr/>
    </dgm:pt>
    <dgm:pt modelId="{CCE03F3E-081B-455D-B2A5-3E7099956153}" type="pres">
      <dgm:prSet presAssocID="{75FBBDB8-B7F6-422F-8338-D582EE4F5F6E}" presName="connTx" presStyleLbl="parChTrans1D2" presStyleIdx="1" presStyleCnt="2"/>
      <dgm:spPr/>
    </dgm:pt>
    <dgm:pt modelId="{0D0D77C0-78D5-4C43-9332-544CD8F73073}" type="pres">
      <dgm:prSet presAssocID="{E93C4451-FCB3-4E9E-958D-9EE96A626B75}" presName="root2" presStyleCnt="0"/>
      <dgm:spPr/>
    </dgm:pt>
    <dgm:pt modelId="{18759E7E-1022-4928-A78E-6770686EEEF7}" type="pres">
      <dgm:prSet presAssocID="{E93C4451-FCB3-4E9E-958D-9EE96A626B75}" presName="LevelTwoTextNode" presStyleLbl="node2" presStyleIdx="1" presStyleCnt="2">
        <dgm:presLayoutVars>
          <dgm:chPref val="3"/>
        </dgm:presLayoutVars>
      </dgm:prSet>
      <dgm:spPr/>
    </dgm:pt>
    <dgm:pt modelId="{7C7776F2-8E35-4EB6-8DA4-E23BFF0FB615}" type="pres">
      <dgm:prSet presAssocID="{E93C4451-FCB3-4E9E-958D-9EE96A626B75}" presName="level3hierChild" presStyleCnt="0"/>
      <dgm:spPr/>
    </dgm:pt>
    <dgm:pt modelId="{CC096C23-E234-47EC-86B0-3145A1BFD7FB}" type="pres">
      <dgm:prSet presAssocID="{C806888B-FE09-47BF-A9C2-FC7420C5E93C}" presName="conn2-1" presStyleLbl="parChTrans1D3" presStyleIdx="4" presStyleCnt="6"/>
      <dgm:spPr/>
    </dgm:pt>
    <dgm:pt modelId="{A9DABD7D-130C-462D-9192-CF58EB5DB625}" type="pres">
      <dgm:prSet presAssocID="{C806888B-FE09-47BF-A9C2-FC7420C5E93C}" presName="connTx" presStyleLbl="parChTrans1D3" presStyleIdx="4" presStyleCnt="6"/>
      <dgm:spPr/>
    </dgm:pt>
    <dgm:pt modelId="{DD1366FD-4E4C-4D97-9FD9-C2F4ECC31AEE}" type="pres">
      <dgm:prSet presAssocID="{9771BA2B-79E6-4A03-8CAF-2ECEDC0B84C3}" presName="root2" presStyleCnt="0"/>
      <dgm:spPr/>
    </dgm:pt>
    <dgm:pt modelId="{94F1CDA8-C88E-4F09-A280-03C3C14E5A38}" type="pres">
      <dgm:prSet presAssocID="{9771BA2B-79E6-4A03-8CAF-2ECEDC0B84C3}" presName="LevelTwoTextNode" presStyleLbl="node3" presStyleIdx="4" presStyleCnt="6">
        <dgm:presLayoutVars>
          <dgm:chPref val="3"/>
        </dgm:presLayoutVars>
      </dgm:prSet>
      <dgm:spPr/>
    </dgm:pt>
    <dgm:pt modelId="{14D95203-0022-4F25-ADBC-3DF847DFD83B}" type="pres">
      <dgm:prSet presAssocID="{9771BA2B-79E6-4A03-8CAF-2ECEDC0B84C3}" presName="level3hierChild" presStyleCnt="0"/>
      <dgm:spPr/>
    </dgm:pt>
    <dgm:pt modelId="{BD1B2B88-13EB-40E9-95B9-CB0166CE00A0}" type="pres">
      <dgm:prSet presAssocID="{D4167758-5EC2-4BBD-9056-A3D6090389AD}" presName="conn2-1" presStyleLbl="parChTrans1D3" presStyleIdx="5" presStyleCnt="6"/>
      <dgm:spPr/>
    </dgm:pt>
    <dgm:pt modelId="{9D6AA2B3-939E-4396-8251-201D4F02F7D6}" type="pres">
      <dgm:prSet presAssocID="{D4167758-5EC2-4BBD-9056-A3D6090389AD}" presName="connTx" presStyleLbl="parChTrans1D3" presStyleIdx="5" presStyleCnt="6"/>
      <dgm:spPr/>
    </dgm:pt>
    <dgm:pt modelId="{7983D0D8-1C10-4E58-9539-CDD9C42B4AB4}" type="pres">
      <dgm:prSet presAssocID="{47E001C0-A62F-4CEE-A18D-89BE62A33073}" presName="root2" presStyleCnt="0"/>
      <dgm:spPr/>
    </dgm:pt>
    <dgm:pt modelId="{AADC60C0-0361-4FA2-AEE5-5ACF3A7482C9}" type="pres">
      <dgm:prSet presAssocID="{47E001C0-A62F-4CEE-A18D-89BE62A33073}" presName="LevelTwoTextNode" presStyleLbl="node3" presStyleIdx="5" presStyleCnt="6" custLinFactNeighborY="521">
        <dgm:presLayoutVars>
          <dgm:chPref val="3"/>
        </dgm:presLayoutVars>
      </dgm:prSet>
      <dgm:spPr/>
    </dgm:pt>
    <dgm:pt modelId="{F1BEF803-8529-4323-A90F-D6C5C2ADF901}" type="pres">
      <dgm:prSet presAssocID="{47E001C0-A62F-4CEE-A18D-89BE62A33073}" presName="level3hierChild" presStyleCnt="0"/>
      <dgm:spPr/>
    </dgm:pt>
  </dgm:ptLst>
  <dgm:cxnLst>
    <dgm:cxn modelId="{2A01FF07-5E49-40C2-BCED-82F84DB6B1A8}" type="presOf" srcId="{DEC517D4-BF7D-4D4B-804D-DCB39487FE9C}" destId="{4CB2B94D-37B2-42FA-8908-0E8E2D41DE71}" srcOrd="0" destOrd="0" presId="urn:microsoft.com/office/officeart/2005/8/layout/hierarchy2"/>
    <dgm:cxn modelId="{92942908-D553-4940-A541-05E46AA04892}" type="presOf" srcId="{90064EB4-9133-4324-B3F0-D7C87BFCD619}" destId="{D7CC8482-669B-471C-8BF2-4415CFB53EE5}" srcOrd="0" destOrd="0" presId="urn:microsoft.com/office/officeart/2005/8/layout/hierarchy2"/>
    <dgm:cxn modelId="{E67AE708-DDA2-44DE-BE23-0F655E6B0B67}" srcId="{ABB7C20D-638F-44F2-992F-1BEC6C490ECC}" destId="{4C8CAE3C-14F9-4E03-8E75-CAD152121842}" srcOrd="1" destOrd="0" parTransId="{90064EB4-9133-4324-B3F0-D7C87BFCD619}" sibTransId="{77AEE9ED-B8C2-4BEB-BB8D-E0CCC0AD7F96}"/>
    <dgm:cxn modelId="{D9F59909-C46B-4F9F-96DC-FCB16539B3AE}" type="presOf" srcId="{ABB7C20D-638F-44F2-992F-1BEC6C490ECC}" destId="{18984D80-E917-421D-84D3-2B3FA0BD31B2}" srcOrd="0" destOrd="0" presId="urn:microsoft.com/office/officeart/2005/8/layout/hierarchy2"/>
    <dgm:cxn modelId="{19FF7710-CCD1-434F-9C10-64C759FE07B7}" type="presOf" srcId="{90064EB4-9133-4324-B3F0-D7C87BFCD619}" destId="{72029D43-C803-4861-BFBE-AE14F45F1324}" srcOrd="1" destOrd="0" presId="urn:microsoft.com/office/officeart/2005/8/layout/hierarchy2"/>
    <dgm:cxn modelId="{F369B11F-86E4-4BC2-9313-28763E22BBB5}" type="presOf" srcId="{9D01028B-E284-4449-9F37-9EC0D53F72B1}" destId="{058F7596-3A40-40E8-850C-62F914A23E3B}" srcOrd="1" destOrd="0" presId="urn:microsoft.com/office/officeart/2005/8/layout/hierarchy2"/>
    <dgm:cxn modelId="{2435C723-6463-492D-9092-8629933E065D}" type="presOf" srcId="{D4167758-5EC2-4BBD-9056-A3D6090389AD}" destId="{BD1B2B88-13EB-40E9-95B9-CB0166CE00A0}" srcOrd="0" destOrd="0" presId="urn:microsoft.com/office/officeart/2005/8/layout/hierarchy2"/>
    <dgm:cxn modelId="{F8D8012D-3C6D-42F4-9E53-943A43D3AE1B}" type="presOf" srcId="{D4167758-5EC2-4BBD-9056-A3D6090389AD}" destId="{9D6AA2B3-939E-4396-8251-201D4F02F7D6}" srcOrd="1" destOrd="0" presId="urn:microsoft.com/office/officeart/2005/8/layout/hierarchy2"/>
    <dgm:cxn modelId="{8AE30C37-E853-440C-8E9B-29D04EABAC55}" type="presOf" srcId="{DB202DD4-24AC-4B12-B42B-FDAA3D95307A}" destId="{3E1A50CF-9775-457B-85EA-C7DD8AF2FA9B}" srcOrd="0" destOrd="0" presId="urn:microsoft.com/office/officeart/2005/8/layout/hierarchy2"/>
    <dgm:cxn modelId="{91C71E38-A4D9-4401-A891-18E850F71545}" type="presOf" srcId="{4EA357AB-0AA8-41BC-908C-02D487A9015A}" destId="{43A4B327-4978-4ABC-9D99-1C54BA1C1BAA}" srcOrd="0" destOrd="0" presId="urn:microsoft.com/office/officeart/2005/8/layout/hierarchy2"/>
    <dgm:cxn modelId="{D4413C47-F955-4CD9-BB6C-5E33550CBB9F}" type="presOf" srcId="{9D01028B-E284-4449-9F37-9EC0D53F72B1}" destId="{A64CB1AD-0103-4BEF-998C-CF93C9E0B84F}" srcOrd="0" destOrd="0" presId="urn:microsoft.com/office/officeart/2005/8/layout/hierarchy2"/>
    <dgm:cxn modelId="{B912CA47-B968-4054-AF22-55ECBF8712F3}" type="presOf" srcId="{4EA357AB-0AA8-41BC-908C-02D487A9015A}" destId="{DD98CAE7-D05E-4591-95ED-84FFF3C9F16F}" srcOrd="1" destOrd="0" presId="urn:microsoft.com/office/officeart/2005/8/layout/hierarchy2"/>
    <dgm:cxn modelId="{04383A6A-5A0A-4BDA-9860-50B6A9167354}" type="presOf" srcId="{65AA46E0-6095-469C-845E-D7A2332480EA}" destId="{4FF4CD90-CEEE-451B-A6D1-4258FF91A20E}" srcOrd="0" destOrd="0" presId="urn:microsoft.com/office/officeart/2005/8/layout/hierarchy2"/>
    <dgm:cxn modelId="{CDDAD04E-1D77-49AA-BD0E-97F48887FE35}" type="presOf" srcId="{75FBBDB8-B7F6-422F-8338-D582EE4F5F6E}" destId="{1AF50C2F-A329-4921-805B-E51367A8F3E8}" srcOrd="0" destOrd="0" presId="urn:microsoft.com/office/officeart/2005/8/layout/hierarchy2"/>
    <dgm:cxn modelId="{FA15EB6E-ACF2-44CD-B4A4-24D0A18B9C5D}" type="presOf" srcId="{C0CAB4CD-3271-4380-A75F-9F0C19FC3D48}" destId="{82C0B65A-1CA8-4F51-BFAE-7584C09DBBDE}" srcOrd="0" destOrd="0" presId="urn:microsoft.com/office/officeart/2005/8/layout/hierarchy2"/>
    <dgm:cxn modelId="{9042F778-B229-4AE0-B9B8-3EF254C4519F}" srcId="{ABB7C20D-638F-44F2-992F-1BEC6C490ECC}" destId="{DEC517D4-BF7D-4D4B-804D-DCB39487FE9C}" srcOrd="0" destOrd="0" parTransId="{C0CAB4CD-3271-4380-A75F-9F0C19FC3D48}" sibTransId="{EC3EB5A3-A39C-458E-8BDB-943EEFB73D4A}"/>
    <dgm:cxn modelId="{511BD359-3B67-4ED6-9592-3D8B98DADEDA}" srcId="{C6F19139-F737-489D-959E-3F4FB49789D5}" destId="{ABB7C20D-638F-44F2-992F-1BEC6C490ECC}" srcOrd="0" destOrd="0" parTransId="{4EA357AB-0AA8-41BC-908C-02D487A9015A}" sibTransId="{88C7C94E-7A2C-4A68-8FEB-C04E2230847F}"/>
    <dgm:cxn modelId="{643C5D7C-B3C7-4298-A3D3-1915EBD4B65B}" srcId="{ABB7C20D-638F-44F2-992F-1BEC6C490ECC}" destId="{19E41330-0A12-42A1-A46D-302B8F4811EA}" srcOrd="2" destOrd="0" parTransId="{9D01028B-E284-4449-9F37-9EC0D53F72B1}" sibTransId="{9F445C47-3DDF-4F6B-9BCB-46C48FA113ED}"/>
    <dgm:cxn modelId="{FB47B695-277B-4600-AAA3-F66A54F12B04}" srcId="{ABB7C20D-638F-44F2-992F-1BEC6C490ECC}" destId="{DB202DD4-24AC-4B12-B42B-FDAA3D95307A}" srcOrd="3" destOrd="0" parTransId="{65AA46E0-6095-469C-845E-D7A2332480EA}" sibTransId="{884AB0F4-7DA8-4E24-AED1-614A5C710A63}"/>
    <dgm:cxn modelId="{6816179A-F60A-4EA6-B014-6F11F6D3FFC9}" srcId="{E93C4451-FCB3-4E9E-958D-9EE96A626B75}" destId="{9771BA2B-79E6-4A03-8CAF-2ECEDC0B84C3}" srcOrd="0" destOrd="0" parTransId="{C806888B-FE09-47BF-A9C2-FC7420C5E93C}" sibTransId="{98372706-EAA0-4FB0-A116-77EC97FF14D0}"/>
    <dgm:cxn modelId="{6C29099C-2ED2-4488-A2B8-36033C39E90E}" type="presOf" srcId="{C806888B-FE09-47BF-A9C2-FC7420C5E93C}" destId="{CC096C23-E234-47EC-86B0-3145A1BFD7FB}" srcOrd="0" destOrd="0" presId="urn:microsoft.com/office/officeart/2005/8/layout/hierarchy2"/>
    <dgm:cxn modelId="{408D0EA1-B343-4FDB-9F2C-FD054CA7EE84}" type="presOf" srcId="{65AA46E0-6095-469C-845E-D7A2332480EA}" destId="{D7C80FD5-245E-43F1-B17C-7534F8951A64}" srcOrd="1" destOrd="0" presId="urn:microsoft.com/office/officeart/2005/8/layout/hierarchy2"/>
    <dgm:cxn modelId="{0BF26DAF-24EB-4BB9-AB47-62BBCBF3C106}" srcId="{C6F19139-F737-489D-959E-3F4FB49789D5}" destId="{E93C4451-FCB3-4E9E-958D-9EE96A626B75}" srcOrd="1" destOrd="0" parTransId="{75FBBDB8-B7F6-422F-8338-D582EE4F5F6E}" sibTransId="{D4FC9217-E878-44CA-99D9-67498B944BAE}"/>
    <dgm:cxn modelId="{C0C02EB2-3EBC-4F33-AAF0-CC8E8345AA7B}" type="presOf" srcId="{47E001C0-A62F-4CEE-A18D-89BE62A33073}" destId="{AADC60C0-0361-4FA2-AEE5-5ACF3A7482C9}" srcOrd="0" destOrd="0" presId="urn:microsoft.com/office/officeart/2005/8/layout/hierarchy2"/>
    <dgm:cxn modelId="{D50855B7-ACB5-43B2-9AA5-185C8884D314}" type="presOf" srcId="{C0CAB4CD-3271-4380-A75F-9F0C19FC3D48}" destId="{09204AB6-016D-42BE-9B92-44BCF16FF8BA}" srcOrd="1" destOrd="0" presId="urn:microsoft.com/office/officeart/2005/8/layout/hierarchy2"/>
    <dgm:cxn modelId="{13149BBA-035F-440F-A312-3EB9876BE96F}" type="presOf" srcId="{19E41330-0A12-42A1-A46D-302B8F4811EA}" destId="{A6F405E3-D6DC-45F2-A634-0D32B221C293}" srcOrd="0" destOrd="0" presId="urn:microsoft.com/office/officeart/2005/8/layout/hierarchy2"/>
    <dgm:cxn modelId="{21750ABB-FB86-4D08-B6DD-77ABA2E07260}" srcId="{64AB8DD2-0CF6-4A88-B518-0F3DB79131A6}" destId="{C6F19139-F737-489D-959E-3F4FB49789D5}" srcOrd="0" destOrd="0" parTransId="{D72F03BA-6F67-4543-8E5D-987BB1DF5732}" sibTransId="{9A08339F-11D1-4B5B-A4E2-04F53D37FF46}"/>
    <dgm:cxn modelId="{5E717ABD-C3EB-45A3-BFD7-55EBE268698E}" type="presOf" srcId="{E93C4451-FCB3-4E9E-958D-9EE96A626B75}" destId="{18759E7E-1022-4928-A78E-6770686EEEF7}" srcOrd="0" destOrd="0" presId="urn:microsoft.com/office/officeart/2005/8/layout/hierarchy2"/>
    <dgm:cxn modelId="{27AA18C4-70BA-4EF7-AF29-257373ACAE61}" type="presOf" srcId="{9771BA2B-79E6-4A03-8CAF-2ECEDC0B84C3}" destId="{94F1CDA8-C88E-4F09-A280-03C3C14E5A38}" srcOrd="0" destOrd="0" presId="urn:microsoft.com/office/officeart/2005/8/layout/hierarchy2"/>
    <dgm:cxn modelId="{43FE31C8-4F94-45E7-88D8-7CAFBB59053D}" type="presOf" srcId="{75FBBDB8-B7F6-422F-8338-D582EE4F5F6E}" destId="{CCE03F3E-081B-455D-B2A5-3E7099956153}" srcOrd="1" destOrd="0" presId="urn:microsoft.com/office/officeart/2005/8/layout/hierarchy2"/>
    <dgm:cxn modelId="{44E487D3-2F8C-4D90-BE4E-12006B9761A6}" type="presOf" srcId="{C806888B-FE09-47BF-A9C2-FC7420C5E93C}" destId="{A9DABD7D-130C-462D-9192-CF58EB5DB625}" srcOrd="1" destOrd="0" presId="urn:microsoft.com/office/officeart/2005/8/layout/hierarchy2"/>
    <dgm:cxn modelId="{88A369DA-F493-4D83-90A3-89D43C6CA0A3}" srcId="{E93C4451-FCB3-4E9E-958D-9EE96A626B75}" destId="{47E001C0-A62F-4CEE-A18D-89BE62A33073}" srcOrd="1" destOrd="0" parTransId="{D4167758-5EC2-4BBD-9056-A3D6090389AD}" sibTransId="{1AFA6F9C-4C12-43B3-A541-2F478449F555}"/>
    <dgm:cxn modelId="{685A09E1-7487-438E-9405-ED6EC28874D8}" type="presOf" srcId="{64AB8DD2-0CF6-4A88-B518-0F3DB79131A6}" destId="{F62B1AD7-7771-45AF-BAFF-B3FAD0078CE3}" srcOrd="0" destOrd="0" presId="urn:microsoft.com/office/officeart/2005/8/layout/hierarchy2"/>
    <dgm:cxn modelId="{CCF377E2-5A91-4EEB-9284-636EC7A35DDD}" type="presOf" srcId="{4C8CAE3C-14F9-4E03-8E75-CAD152121842}" destId="{FC04DA1C-A36E-479E-967A-95D1A1B18CEA}" srcOrd="0" destOrd="0" presId="urn:microsoft.com/office/officeart/2005/8/layout/hierarchy2"/>
    <dgm:cxn modelId="{A9B9A2E9-2D49-4EA4-BE85-8C6A41BFD40F}" type="presOf" srcId="{C6F19139-F737-489D-959E-3F4FB49789D5}" destId="{258566FB-08B7-4DB1-A996-37BC3B9F10E7}" srcOrd="0" destOrd="0" presId="urn:microsoft.com/office/officeart/2005/8/layout/hierarchy2"/>
    <dgm:cxn modelId="{F5247F03-DA1A-4FFF-AAF5-801BA993E362}" type="presParOf" srcId="{F62B1AD7-7771-45AF-BAFF-B3FAD0078CE3}" destId="{9AD755C9-4693-457E-B422-694948AFE33C}" srcOrd="0" destOrd="0" presId="urn:microsoft.com/office/officeart/2005/8/layout/hierarchy2"/>
    <dgm:cxn modelId="{0FC06DF3-6F7C-4691-B13F-6DC4CB2559DD}" type="presParOf" srcId="{9AD755C9-4693-457E-B422-694948AFE33C}" destId="{258566FB-08B7-4DB1-A996-37BC3B9F10E7}" srcOrd="0" destOrd="0" presId="urn:microsoft.com/office/officeart/2005/8/layout/hierarchy2"/>
    <dgm:cxn modelId="{4611FC4D-28CB-4449-AF36-D044E85C43BC}" type="presParOf" srcId="{9AD755C9-4693-457E-B422-694948AFE33C}" destId="{C1F6DD37-D6A4-49A6-80D5-B9968FD53B6A}" srcOrd="1" destOrd="0" presId="urn:microsoft.com/office/officeart/2005/8/layout/hierarchy2"/>
    <dgm:cxn modelId="{27A13DBB-4E05-4295-BEA7-760CC92D0467}" type="presParOf" srcId="{C1F6DD37-D6A4-49A6-80D5-B9968FD53B6A}" destId="{43A4B327-4978-4ABC-9D99-1C54BA1C1BAA}" srcOrd="0" destOrd="0" presId="urn:microsoft.com/office/officeart/2005/8/layout/hierarchy2"/>
    <dgm:cxn modelId="{7E8B07A4-BBE9-4F9B-BC8E-47DB4C8C565C}" type="presParOf" srcId="{43A4B327-4978-4ABC-9D99-1C54BA1C1BAA}" destId="{DD98CAE7-D05E-4591-95ED-84FFF3C9F16F}" srcOrd="0" destOrd="0" presId="urn:microsoft.com/office/officeart/2005/8/layout/hierarchy2"/>
    <dgm:cxn modelId="{8AA642BA-5768-4A39-AFE4-DAD60A274025}" type="presParOf" srcId="{C1F6DD37-D6A4-49A6-80D5-B9968FD53B6A}" destId="{0CCD3823-7749-4F75-936E-4D9E36536F21}" srcOrd="1" destOrd="0" presId="urn:microsoft.com/office/officeart/2005/8/layout/hierarchy2"/>
    <dgm:cxn modelId="{EB5DB6FF-AEAF-4923-9047-5BDD478E3190}" type="presParOf" srcId="{0CCD3823-7749-4F75-936E-4D9E36536F21}" destId="{18984D80-E917-421D-84D3-2B3FA0BD31B2}" srcOrd="0" destOrd="0" presId="urn:microsoft.com/office/officeart/2005/8/layout/hierarchy2"/>
    <dgm:cxn modelId="{803F27BB-4969-4474-96DE-35526819B652}" type="presParOf" srcId="{0CCD3823-7749-4F75-936E-4D9E36536F21}" destId="{C1A6C292-F18D-4869-8C8A-B3ED7E8A3E43}" srcOrd="1" destOrd="0" presId="urn:microsoft.com/office/officeart/2005/8/layout/hierarchy2"/>
    <dgm:cxn modelId="{12D1CA8C-7487-48E1-A747-F7AC93EFCBF8}" type="presParOf" srcId="{C1A6C292-F18D-4869-8C8A-B3ED7E8A3E43}" destId="{82C0B65A-1CA8-4F51-BFAE-7584C09DBBDE}" srcOrd="0" destOrd="0" presId="urn:microsoft.com/office/officeart/2005/8/layout/hierarchy2"/>
    <dgm:cxn modelId="{06CD7E85-20B8-4086-8DDE-9E6EBADC19A9}" type="presParOf" srcId="{82C0B65A-1CA8-4F51-BFAE-7584C09DBBDE}" destId="{09204AB6-016D-42BE-9B92-44BCF16FF8BA}" srcOrd="0" destOrd="0" presId="urn:microsoft.com/office/officeart/2005/8/layout/hierarchy2"/>
    <dgm:cxn modelId="{9E0CE6B1-A1FB-4A0C-8933-D1944AF7121C}" type="presParOf" srcId="{C1A6C292-F18D-4869-8C8A-B3ED7E8A3E43}" destId="{87C4F32B-522C-4810-A787-561C1DF3993A}" srcOrd="1" destOrd="0" presId="urn:microsoft.com/office/officeart/2005/8/layout/hierarchy2"/>
    <dgm:cxn modelId="{833920AE-8424-4364-B0F0-A19244E1FA16}" type="presParOf" srcId="{87C4F32B-522C-4810-A787-561C1DF3993A}" destId="{4CB2B94D-37B2-42FA-8908-0E8E2D41DE71}" srcOrd="0" destOrd="0" presId="urn:microsoft.com/office/officeart/2005/8/layout/hierarchy2"/>
    <dgm:cxn modelId="{F40230E8-A859-444C-B240-F416AEEFA0C2}" type="presParOf" srcId="{87C4F32B-522C-4810-A787-561C1DF3993A}" destId="{CA29D383-2301-4EE7-A04E-AE869DEDC330}" srcOrd="1" destOrd="0" presId="urn:microsoft.com/office/officeart/2005/8/layout/hierarchy2"/>
    <dgm:cxn modelId="{D74754A7-2E70-4F64-A8A8-E3656B67AD6E}" type="presParOf" srcId="{C1A6C292-F18D-4869-8C8A-B3ED7E8A3E43}" destId="{D7CC8482-669B-471C-8BF2-4415CFB53EE5}" srcOrd="2" destOrd="0" presId="urn:microsoft.com/office/officeart/2005/8/layout/hierarchy2"/>
    <dgm:cxn modelId="{27EB4A83-EACE-4D36-8DB9-26A4F9C078AF}" type="presParOf" srcId="{D7CC8482-669B-471C-8BF2-4415CFB53EE5}" destId="{72029D43-C803-4861-BFBE-AE14F45F1324}" srcOrd="0" destOrd="0" presId="urn:microsoft.com/office/officeart/2005/8/layout/hierarchy2"/>
    <dgm:cxn modelId="{E201A94D-B5DE-4D35-90E7-514A0CFEDB98}" type="presParOf" srcId="{C1A6C292-F18D-4869-8C8A-B3ED7E8A3E43}" destId="{52ABC0A0-4090-4003-B5EF-13BCAD25D8DB}" srcOrd="3" destOrd="0" presId="urn:microsoft.com/office/officeart/2005/8/layout/hierarchy2"/>
    <dgm:cxn modelId="{FA92AC2D-9E1F-401A-AD6B-347F538A16A2}" type="presParOf" srcId="{52ABC0A0-4090-4003-B5EF-13BCAD25D8DB}" destId="{FC04DA1C-A36E-479E-967A-95D1A1B18CEA}" srcOrd="0" destOrd="0" presId="urn:microsoft.com/office/officeart/2005/8/layout/hierarchy2"/>
    <dgm:cxn modelId="{1287B520-3ED7-4C49-A7A4-A49625AFFFDB}" type="presParOf" srcId="{52ABC0A0-4090-4003-B5EF-13BCAD25D8DB}" destId="{F2F3E713-327E-4BB0-90DB-5000C123F3A8}" srcOrd="1" destOrd="0" presId="urn:microsoft.com/office/officeart/2005/8/layout/hierarchy2"/>
    <dgm:cxn modelId="{1CA80454-7870-46D4-997F-F2115E59B140}" type="presParOf" srcId="{C1A6C292-F18D-4869-8C8A-B3ED7E8A3E43}" destId="{A64CB1AD-0103-4BEF-998C-CF93C9E0B84F}" srcOrd="4" destOrd="0" presId="urn:microsoft.com/office/officeart/2005/8/layout/hierarchy2"/>
    <dgm:cxn modelId="{0AA89A26-271B-4AE3-8B01-5DAF3705FC92}" type="presParOf" srcId="{A64CB1AD-0103-4BEF-998C-CF93C9E0B84F}" destId="{058F7596-3A40-40E8-850C-62F914A23E3B}" srcOrd="0" destOrd="0" presId="urn:microsoft.com/office/officeart/2005/8/layout/hierarchy2"/>
    <dgm:cxn modelId="{5B720354-B929-4417-97AB-A03D702ABECB}" type="presParOf" srcId="{C1A6C292-F18D-4869-8C8A-B3ED7E8A3E43}" destId="{E2079C48-9E3E-4371-BB3F-A4D5712E22AC}" srcOrd="5" destOrd="0" presId="urn:microsoft.com/office/officeart/2005/8/layout/hierarchy2"/>
    <dgm:cxn modelId="{1AB1B6DF-B3A2-477C-B85D-006FDA24F784}" type="presParOf" srcId="{E2079C48-9E3E-4371-BB3F-A4D5712E22AC}" destId="{A6F405E3-D6DC-45F2-A634-0D32B221C293}" srcOrd="0" destOrd="0" presId="urn:microsoft.com/office/officeart/2005/8/layout/hierarchy2"/>
    <dgm:cxn modelId="{973462E9-97D7-43A6-A177-9A38DCAF4ADF}" type="presParOf" srcId="{E2079C48-9E3E-4371-BB3F-A4D5712E22AC}" destId="{11B280B1-4CC6-4113-B51B-1116A825BE01}" srcOrd="1" destOrd="0" presId="urn:microsoft.com/office/officeart/2005/8/layout/hierarchy2"/>
    <dgm:cxn modelId="{8A05C4A1-A68E-4E4C-B51F-6037D09A7A45}" type="presParOf" srcId="{C1A6C292-F18D-4869-8C8A-B3ED7E8A3E43}" destId="{4FF4CD90-CEEE-451B-A6D1-4258FF91A20E}" srcOrd="6" destOrd="0" presId="urn:microsoft.com/office/officeart/2005/8/layout/hierarchy2"/>
    <dgm:cxn modelId="{88D43829-C672-4736-942F-261B51B39B87}" type="presParOf" srcId="{4FF4CD90-CEEE-451B-A6D1-4258FF91A20E}" destId="{D7C80FD5-245E-43F1-B17C-7534F8951A64}" srcOrd="0" destOrd="0" presId="urn:microsoft.com/office/officeart/2005/8/layout/hierarchy2"/>
    <dgm:cxn modelId="{D66BA200-EB0D-40FD-B232-92E1CA51F410}" type="presParOf" srcId="{C1A6C292-F18D-4869-8C8A-B3ED7E8A3E43}" destId="{178CB6B5-5519-4841-BA9C-C4F7B5378AB0}" srcOrd="7" destOrd="0" presId="urn:microsoft.com/office/officeart/2005/8/layout/hierarchy2"/>
    <dgm:cxn modelId="{7D1AC0D3-1F6C-4C78-A908-264FD29E9B78}" type="presParOf" srcId="{178CB6B5-5519-4841-BA9C-C4F7B5378AB0}" destId="{3E1A50CF-9775-457B-85EA-C7DD8AF2FA9B}" srcOrd="0" destOrd="0" presId="urn:microsoft.com/office/officeart/2005/8/layout/hierarchy2"/>
    <dgm:cxn modelId="{7536DBEC-ABE6-4EC3-B46F-564D075D5CF0}" type="presParOf" srcId="{178CB6B5-5519-4841-BA9C-C4F7B5378AB0}" destId="{42DDD1CC-3300-4502-8407-555142F37153}" srcOrd="1" destOrd="0" presId="urn:microsoft.com/office/officeart/2005/8/layout/hierarchy2"/>
    <dgm:cxn modelId="{3399A9DA-ABE9-49D8-9E64-6FA0665A1F3B}" type="presParOf" srcId="{C1F6DD37-D6A4-49A6-80D5-B9968FD53B6A}" destId="{1AF50C2F-A329-4921-805B-E51367A8F3E8}" srcOrd="2" destOrd="0" presId="urn:microsoft.com/office/officeart/2005/8/layout/hierarchy2"/>
    <dgm:cxn modelId="{7C175639-2AC6-4936-88B8-309C9618F46B}" type="presParOf" srcId="{1AF50C2F-A329-4921-805B-E51367A8F3E8}" destId="{CCE03F3E-081B-455D-B2A5-3E7099956153}" srcOrd="0" destOrd="0" presId="urn:microsoft.com/office/officeart/2005/8/layout/hierarchy2"/>
    <dgm:cxn modelId="{0EC37E30-AA5E-4A60-ADE8-12262106B409}" type="presParOf" srcId="{C1F6DD37-D6A4-49A6-80D5-B9968FD53B6A}" destId="{0D0D77C0-78D5-4C43-9332-544CD8F73073}" srcOrd="3" destOrd="0" presId="urn:microsoft.com/office/officeart/2005/8/layout/hierarchy2"/>
    <dgm:cxn modelId="{68A41633-B473-4085-ABD1-EE2889235826}" type="presParOf" srcId="{0D0D77C0-78D5-4C43-9332-544CD8F73073}" destId="{18759E7E-1022-4928-A78E-6770686EEEF7}" srcOrd="0" destOrd="0" presId="urn:microsoft.com/office/officeart/2005/8/layout/hierarchy2"/>
    <dgm:cxn modelId="{1E0ED701-BF01-4641-859E-D0EC67E9C71C}" type="presParOf" srcId="{0D0D77C0-78D5-4C43-9332-544CD8F73073}" destId="{7C7776F2-8E35-4EB6-8DA4-E23BFF0FB615}" srcOrd="1" destOrd="0" presId="urn:microsoft.com/office/officeart/2005/8/layout/hierarchy2"/>
    <dgm:cxn modelId="{56AA45BF-0258-44F6-905A-8C02B804A20A}" type="presParOf" srcId="{7C7776F2-8E35-4EB6-8DA4-E23BFF0FB615}" destId="{CC096C23-E234-47EC-86B0-3145A1BFD7FB}" srcOrd="0" destOrd="0" presId="urn:microsoft.com/office/officeart/2005/8/layout/hierarchy2"/>
    <dgm:cxn modelId="{70E44D9E-9C1C-4FE7-80AC-E2E26EFEB274}" type="presParOf" srcId="{CC096C23-E234-47EC-86B0-3145A1BFD7FB}" destId="{A9DABD7D-130C-462D-9192-CF58EB5DB625}" srcOrd="0" destOrd="0" presId="urn:microsoft.com/office/officeart/2005/8/layout/hierarchy2"/>
    <dgm:cxn modelId="{62AAC851-483C-4AC8-B0A6-3DAF556A3570}" type="presParOf" srcId="{7C7776F2-8E35-4EB6-8DA4-E23BFF0FB615}" destId="{DD1366FD-4E4C-4D97-9FD9-C2F4ECC31AEE}" srcOrd="1" destOrd="0" presId="urn:microsoft.com/office/officeart/2005/8/layout/hierarchy2"/>
    <dgm:cxn modelId="{C452EDB8-AEDF-42B2-BC44-6A74C7F439BE}" type="presParOf" srcId="{DD1366FD-4E4C-4D97-9FD9-C2F4ECC31AEE}" destId="{94F1CDA8-C88E-4F09-A280-03C3C14E5A38}" srcOrd="0" destOrd="0" presId="urn:microsoft.com/office/officeart/2005/8/layout/hierarchy2"/>
    <dgm:cxn modelId="{E2AE8EB7-744D-4361-AA75-36FE5ED8FA07}" type="presParOf" srcId="{DD1366FD-4E4C-4D97-9FD9-C2F4ECC31AEE}" destId="{14D95203-0022-4F25-ADBC-3DF847DFD83B}" srcOrd="1" destOrd="0" presId="urn:microsoft.com/office/officeart/2005/8/layout/hierarchy2"/>
    <dgm:cxn modelId="{D210A679-EE67-42A5-A607-A481539487E5}" type="presParOf" srcId="{7C7776F2-8E35-4EB6-8DA4-E23BFF0FB615}" destId="{BD1B2B88-13EB-40E9-95B9-CB0166CE00A0}" srcOrd="2" destOrd="0" presId="urn:microsoft.com/office/officeart/2005/8/layout/hierarchy2"/>
    <dgm:cxn modelId="{A9874692-B380-4981-ABE1-15D4BFFC8B08}" type="presParOf" srcId="{BD1B2B88-13EB-40E9-95B9-CB0166CE00A0}" destId="{9D6AA2B3-939E-4396-8251-201D4F02F7D6}" srcOrd="0" destOrd="0" presId="urn:microsoft.com/office/officeart/2005/8/layout/hierarchy2"/>
    <dgm:cxn modelId="{BB67B4CC-7956-40FC-B8EC-0DE7C4D72515}" type="presParOf" srcId="{7C7776F2-8E35-4EB6-8DA4-E23BFF0FB615}" destId="{7983D0D8-1C10-4E58-9539-CDD9C42B4AB4}" srcOrd="3" destOrd="0" presId="urn:microsoft.com/office/officeart/2005/8/layout/hierarchy2"/>
    <dgm:cxn modelId="{8CD151D2-266B-4A5D-8476-C88F73E2F42B}" type="presParOf" srcId="{7983D0D8-1C10-4E58-9539-CDD9C42B4AB4}" destId="{AADC60C0-0361-4FA2-AEE5-5ACF3A7482C9}" srcOrd="0" destOrd="0" presId="urn:microsoft.com/office/officeart/2005/8/layout/hierarchy2"/>
    <dgm:cxn modelId="{41F0B9DD-1410-4C0F-A3F3-83B24AD90C9F}" type="presParOf" srcId="{7983D0D8-1C10-4E58-9539-CDD9C42B4AB4}" destId="{F1BEF803-8529-4323-A90F-D6C5C2ADF901}"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A0AD80-11C3-4D22-A2A6-3CB40C62AFF4}">
      <dsp:nvSpPr>
        <dsp:cNvPr id="0" name=""/>
        <dsp:cNvSpPr/>
      </dsp:nvSpPr>
      <dsp:spPr>
        <a:xfrm>
          <a:off x="773544" y="1580135"/>
          <a:ext cx="3070913" cy="2684364"/>
        </a:xfrm>
        <a:prstGeom prst="rightArrow">
          <a:avLst>
            <a:gd name="adj1" fmla="val 70000"/>
            <a:gd name="adj2" fmla="val 50000"/>
          </a:avLst>
        </a:prstGeom>
        <a:solidFill>
          <a:schemeClr val="accent4">
            <a:tint val="40000"/>
            <a:alpha val="90000"/>
            <a:hueOff val="0"/>
            <a:satOff val="0"/>
            <a:lumOff val="0"/>
            <a:alphaOff val="0"/>
          </a:schemeClr>
        </a:solidFill>
        <a:ln w="9525" cap="flat" cmpd="sng" algn="ctr">
          <a:solidFill>
            <a:schemeClr val="accent4">
              <a:tint val="40000"/>
              <a:alpha val="90000"/>
              <a:hueOff val="0"/>
              <a:satOff val="0"/>
              <a:lumOff val="0"/>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3180" tIns="10795" rIns="21590" bIns="10795" numCol="1" spcCol="1270" anchor="ctr" anchorCtr="0">
          <a:noAutofit/>
        </a:bodyPr>
        <a:lstStyle/>
        <a:p>
          <a:pPr marL="0" lvl="0" indent="0" algn="ctr" defTabSz="755650">
            <a:lnSpc>
              <a:spcPct val="90000"/>
            </a:lnSpc>
            <a:spcBef>
              <a:spcPct val="0"/>
            </a:spcBef>
            <a:spcAft>
              <a:spcPct val="35000"/>
            </a:spcAft>
            <a:buNone/>
          </a:pPr>
          <a:r>
            <a:rPr lang="da-DK" sz="1700" kern="1200" dirty="0"/>
            <a:t>Udforsk potentialet, vær nysgerrig</a:t>
          </a:r>
        </a:p>
      </dsp:txBody>
      <dsp:txXfrm>
        <a:off x="1541272" y="1982790"/>
        <a:ext cx="1497070" cy="1879054"/>
      </dsp:txXfrm>
    </dsp:sp>
    <dsp:sp modelId="{1ACD9F46-2E59-46A9-BFEA-B2C1111408A6}">
      <dsp:nvSpPr>
        <dsp:cNvPr id="0" name=""/>
        <dsp:cNvSpPr/>
      </dsp:nvSpPr>
      <dsp:spPr>
        <a:xfrm>
          <a:off x="5816" y="2154589"/>
          <a:ext cx="1535456" cy="1535456"/>
        </a:xfrm>
        <a:prstGeom prst="ellipse">
          <a:avLst/>
        </a:prstGeom>
        <a:solidFill>
          <a:schemeClr val="accent4">
            <a:hueOff val="0"/>
            <a:satOff val="0"/>
            <a:lumOff val="0"/>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1275" tIns="41275" rIns="41275" bIns="41275" numCol="1" spcCol="1270" anchor="ctr" anchorCtr="0">
          <a:noAutofit/>
        </a:bodyPr>
        <a:lstStyle/>
        <a:p>
          <a:pPr marL="0" lvl="0" indent="0" algn="ctr" defTabSz="2889250">
            <a:lnSpc>
              <a:spcPct val="90000"/>
            </a:lnSpc>
            <a:spcBef>
              <a:spcPct val="0"/>
            </a:spcBef>
            <a:spcAft>
              <a:spcPct val="35000"/>
            </a:spcAft>
            <a:buNone/>
          </a:pPr>
          <a:r>
            <a:rPr lang="da-DK" sz="6500" kern="1200" dirty="0"/>
            <a:t>1</a:t>
          </a:r>
        </a:p>
      </dsp:txBody>
      <dsp:txXfrm>
        <a:off x="230678" y="2379451"/>
        <a:ext cx="1085732" cy="1085732"/>
      </dsp:txXfrm>
    </dsp:sp>
    <dsp:sp modelId="{9E17E7CC-8339-45B6-A658-F650F70A3362}">
      <dsp:nvSpPr>
        <dsp:cNvPr id="0" name=""/>
        <dsp:cNvSpPr/>
      </dsp:nvSpPr>
      <dsp:spPr>
        <a:xfrm>
          <a:off x="4804118" y="1580135"/>
          <a:ext cx="3070913" cy="2684364"/>
        </a:xfrm>
        <a:prstGeom prst="rightArrow">
          <a:avLst>
            <a:gd name="adj1" fmla="val 70000"/>
            <a:gd name="adj2" fmla="val 50000"/>
          </a:avLst>
        </a:prstGeom>
        <a:solidFill>
          <a:schemeClr val="accent4">
            <a:tint val="40000"/>
            <a:alpha val="90000"/>
            <a:hueOff val="3174217"/>
            <a:satOff val="3752"/>
            <a:lumOff val="581"/>
            <a:alphaOff val="0"/>
          </a:schemeClr>
        </a:solidFill>
        <a:ln w="9525" cap="flat" cmpd="sng" algn="ctr">
          <a:solidFill>
            <a:schemeClr val="accent4">
              <a:tint val="40000"/>
              <a:alpha val="90000"/>
              <a:hueOff val="3174217"/>
              <a:satOff val="3752"/>
              <a:lumOff val="581"/>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3180" tIns="10795" rIns="21590" bIns="10795" numCol="1" spcCol="1270" anchor="ctr" anchorCtr="0">
          <a:noAutofit/>
        </a:bodyPr>
        <a:lstStyle/>
        <a:p>
          <a:pPr marL="0" lvl="0" indent="0" algn="ctr" defTabSz="755650">
            <a:lnSpc>
              <a:spcPct val="90000"/>
            </a:lnSpc>
            <a:spcBef>
              <a:spcPct val="0"/>
            </a:spcBef>
            <a:spcAft>
              <a:spcPct val="35000"/>
            </a:spcAft>
            <a:buNone/>
          </a:pPr>
          <a:r>
            <a:rPr lang="da-DK" sz="1700" kern="1200" dirty="0"/>
            <a:t>Læg en strategi med mål og delmål og involvér i processen</a:t>
          </a:r>
        </a:p>
      </dsp:txBody>
      <dsp:txXfrm>
        <a:off x="5571846" y="1982790"/>
        <a:ext cx="1497070" cy="1879054"/>
      </dsp:txXfrm>
    </dsp:sp>
    <dsp:sp modelId="{39E7DE31-8DFD-4C06-91A0-16B69553429F}">
      <dsp:nvSpPr>
        <dsp:cNvPr id="0" name=""/>
        <dsp:cNvSpPr/>
      </dsp:nvSpPr>
      <dsp:spPr>
        <a:xfrm>
          <a:off x="4036390" y="2154589"/>
          <a:ext cx="1535456" cy="1535456"/>
        </a:xfrm>
        <a:prstGeom prst="ellipse">
          <a:avLst/>
        </a:prstGeom>
        <a:solidFill>
          <a:schemeClr val="accent4">
            <a:hueOff val="2492792"/>
            <a:satOff val="0"/>
            <a:lumOff val="2843"/>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1275" tIns="41275" rIns="41275" bIns="41275" numCol="1" spcCol="1270" anchor="ctr" anchorCtr="0">
          <a:noAutofit/>
        </a:bodyPr>
        <a:lstStyle/>
        <a:p>
          <a:pPr marL="0" lvl="0" indent="0" algn="ctr" defTabSz="2889250">
            <a:lnSpc>
              <a:spcPct val="90000"/>
            </a:lnSpc>
            <a:spcBef>
              <a:spcPct val="0"/>
            </a:spcBef>
            <a:spcAft>
              <a:spcPct val="35000"/>
            </a:spcAft>
            <a:buNone/>
          </a:pPr>
          <a:r>
            <a:rPr lang="da-DK" sz="6500" kern="1200" dirty="0"/>
            <a:t>2</a:t>
          </a:r>
        </a:p>
      </dsp:txBody>
      <dsp:txXfrm>
        <a:off x="4261252" y="2379451"/>
        <a:ext cx="1085732" cy="1085732"/>
      </dsp:txXfrm>
    </dsp:sp>
    <dsp:sp modelId="{6AF16C9C-7DDE-4E3E-9487-939A8BC97CC4}">
      <dsp:nvSpPr>
        <dsp:cNvPr id="0" name=""/>
        <dsp:cNvSpPr/>
      </dsp:nvSpPr>
      <dsp:spPr>
        <a:xfrm>
          <a:off x="8834692" y="1580135"/>
          <a:ext cx="3070913" cy="2684364"/>
        </a:xfrm>
        <a:prstGeom prst="rightArrow">
          <a:avLst>
            <a:gd name="adj1" fmla="val 70000"/>
            <a:gd name="adj2" fmla="val 50000"/>
          </a:avLst>
        </a:prstGeom>
        <a:solidFill>
          <a:schemeClr val="accent4">
            <a:tint val="40000"/>
            <a:alpha val="90000"/>
            <a:hueOff val="6348434"/>
            <a:satOff val="7505"/>
            <a:lumOff val="1163"/>
            <a:alphaOff val="0"/>
          </a:schemeClr>
        </a:solidFill>
        <a:ln w="9525" cap="flat" cmpd="sng" algn="ctr">
          <a:solidFill>
            <a:schemeClr val="accent4">
              <a:tint val="40000"/>
              <a:alpha val="90000"/>
              <a:hueOff val="6348434"/>
              <a:satOff val="7505"/>
              <a:lumOff val="1163"/>
              <a:alphaOff val="0"/>
            </a:schemeClr>
          </a:solidFill>
          <a:prstDash val="solid"/>
        </a:ln>
        <a:effectLst/>
      </dsp:spPr>
      <dsp:style>
        <a:lnRef idx="1">
          <a:scrgbClr r="0" g="0" b="0"/>
        </a:lnRef>
        <a:fillRef idx="1">
          <a:scrgbClr r="0" g="0" b="0"/>
        </a:fillRef>
        <a:effectRef idx="2">
          <a:scrgbClr r="0" g="0" b="0"/>
        </a:effectRef>
        <a:fontRef idx="minor"/>
      </dsp:style>
      <dsp:txBody>
        <a:bodyPr spcFirstLastPara="0" vert="horz" wrap="square" lIns="43180" tIns="10795" rIns="21590" bIns="10795" numCol="1" spcCol="1270" anchor="ctr" anchorCtr="0">
          <a:noAutofit/>
        </a:bodyPr>
        <a:lstStyle/>
        <a:p>
          <a:pPr marL="0" lvl="0" indent="0" algn="ctr" defTabSz="755650">
            <a:lnSpc>
              <a:spcPct val="90000"/>
            </a:lnSpc>
            <a:spcBef>
              <a:spcPct val="0"/>
            </a:spcBef>
            <a:spcAft>
              <a:spcPct val="35000"/>
            </a:spcAft>
            <a:buNone/>
          </a:pPr>
          <a:r>
            <a:rPr lang="da-DK" sz="1700" kern="1200" dirty="0"/>
            <a:t>Uddanne medarbejdere, superbrugere og elever</a:t>
          </a:r>
        </a:p>
      </dsp:txBody>
      <dsp:txXfrm>
        <a:off x="9602420" y="1982790"/>
        <a:ext cx="1497070" cy="1879054"/>
      </dsp:txXfrm>
    </dsp:sp>
    <dsp:sp modelId="{EFD0679F-9FE6-437A-B435-433EE528EFB2}">
      <dsp:nvSpPr>
        <dsp:cNvPr id="0" name=""/>
        <dsp:cNvSpPr/>
      </dsp:nvSpPr>
      <dsp:spPr>
        <a:xfrm>
          <a:off x="8066964" y="2154589"/>
          <a:ext cx="1535456" cy="1535456"/>
        </a:xfrm>
        <a:prstGeom prst="ellipse">
          <a:avLst/>
        </a:prstGeom>
        <a:solidFill>
          <a:schemeClr val="accent4">
            <a:hueOff val="4985584"/>
            <a:satOff val="0"/>
            <a:lumOff val="5686"/>
            <a:alphaOff val="0"/>
          </a:schemeClr>
        </a:solid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0">
          <a:scrgbClr r="0" g="0" b="0"/>
        </a:lnRef>
        <a:fillRef idx="3">
          <a:scrgbClr r="0" g="0" b="0"/>
        </a:fillRef>
        <a:effectRef idx="3">
          <a:scrgbClr r="0" g="0" b="0"/>
        </a:effectRef>
        <a:fontRef idx="minor">
          <a:schemeClr val="lt1"/>
        </a:fontRef>
      </dsp:style>
      <dsp:txBody>
        <a:bodyPr spcFirstLastPara="0" vert="horz" wrap="square" lIns="41275" tIns="41275" rIns="41275" bIns="41275" numCol="1" spcCol="1270" anchor="ctr" anchorCtr="0">
          <a:noAutofit/>
        </a:bodyPr>
        <a:lstStyle/>
        <a:p>
          <a:pPr marL="0" lvl="0" indent="0" algn="ctr" defTabSz="2889250">
            <a:lnSpc>
              <a:spcPct val="90000"/>
            </a:lnSpc>
            <a:spcBef>
              <a:spcPct val="0"/>
            </a:spcBef>
            <a:spcAft>
              <a:spcPct val="35000"/>
            </a:spcAft>
            <a:buNone/>
          </a:pPr>
          <a:r>
            <a:rPr lang="da-DK" sz="6500" kern="1200" dirty="0"/>
            <a:t>3</a:t>
          </a:r>
        </a:p>
      </dsp:txBody>
      <dsp:txXfrm>
        <a:off x="8291826" y="2379451"/>
        <a:ext cx="1085732" cy="108573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8566FB-08B7-4DB1-A996-37BC3B9F10E7}">
      <dsp:nvSpPr>
        <dsp:cNvPr id="0" name=""/>
        <dsp:cNvSpPr/>
      </dsp:nvSpPr>
      <dsp:spPr>
        <a:xfrm>
          <a:off x="2103824" y="3063516"/>
          <a:ext cx="1773618" cy="88680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da-DK" sz="1900" kern="1200" dirty="0"/>
            <a:t>Matematik</a:t>
          </a:r>
        </a:p>
      </dsp:txBody>
      <dsp:txXfrm>
        <a:off x="2129798" y="3089490"/>
        <a:ext cx="1721670" cy="834861"/>
      </dsp:txXfrm>
    </dsp:sp>
    <dsp:sp modelId="{43A4B327-4978-4ABC-9D99-1C54BA1C1BAA}">
      <dsp:nvSpPr>
        <dsp:cNvPr id="0" name=""/>
        <dsp:cNvSpPr/>
      </dsp:nvSpPr>
      <dsp:spPr>
        <a:xfrm rot="17692822">
          <a:off x="3389041" y="2728732"/>
          <a:ext cx="1686250" cy="26630"/>
        </a:xfrm>
        <a:custGeom>
          <a:avLst/>
          <a:gdLst/>
          <a:ahLst/>
          <a:cxnLst/>
          <a:rect l="0" t="0" r="0" b="0"/>
          <a:pathLst>
            <a:path>
              <a:moveTo>
                <a:pt x="0" y="13315"/>
              </a:moveTo>
              <a:lnTo>
                <a:pt x="1686250" y="13315"/>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a-DK" sz="500" kern="1200"/>
        </a:p>
      </dsp:txBody>
      <dsp:txXfrm>
        <a:off x="4190010" y="2699892"/>
        <a:ext cx="84312" cy="84312"/>
      </dsp:txXfrm>
    </dsp:sp>
    <dsp:sp modelId="{18984D80-E917-421D-84D3-2B3FA0BD31B2}">
      <dsp:nvSpPr>
        <dsp:cNvPr id="0" name=""/>
        <dsp:cNvSpPr/>
      </dsp:nvSpPr>
      <dsp:spPr>
        <a:xfrm>
          <a:off x="4586890" y="1533770"/>
          <a:ext cx="1773618" cy="88680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da-DK" sz="1900" kern="1200" dirty="0"/>
            <a:t>Generelt</a:t>
          </a:r>
        </a:p>
      </dsp:txBody>
      <dsp:txXfrm>
        <a:off x="4612864" y="1559744"/>
        <a:ext cx="1721670" cy="834861"/>
      </dsp:txXfrm>
    </dsp:sp>
    <dsp:sp modelId="{82C0B65A-1CA8-4F51-BFAE-7584C09DBBDE}">
      <dsp:nvSpPr>
        <dsp:cNvPr id="0" name=""/>
        <dsp:cNvSpPr/>
      </dsp:nvSpPr>
      <dsp:spPr>
        <a:xfrm rot="17692822">
          <a:off x="5872108" y="1198986"/>
          <a:ext cx="1686250" cy="26630"/>
        </a:xfrm>
        <a:custGeom>
          <a:avLst/>
          <a:gdLst/>
          <a:ahLst/>
          <a:cxnLst/>
          <a:rect l="0" t="0" r="0" b="0"/>
          <a:pathLst>
            <a:path>
              <a:moveTo>
                <a:pt x="0" y="13315"/>
              </a:moveTo>
              <a:lnTo>
                <a:pt x="1686250" y="13315"/>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a-DK" sz="500" kern="1200"/>
        </a:p>
      </dsp:txBody>
      <dsp:txXfrm>
        <a:off x="6673076" y="1170145"/>
        <a:ext cx="84312" cy="84312"/>
      </dsp:txXfrm>
    </dsp:sp>
    <dsp:sp modelId="{4CB2B94D-37B2-42FA-8908-0E8E2D41DE71}">
      <dsp:nvSpPr>
        <dsp:cNvPr id="0" name=""/>
        <dsp:cNvSpPr/>
      </dsp:nvSpPr>
      <dsp:spPr>
        <a:xfrm>
          <a:off x="7069956" y="4024"/>
          <a:ext cx="1773618" cy="88680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da-DK" sz="1900" kern="1200" dirty="0"/>
            <a:t>Samtaler</a:t>
          </a:r>
        </a:p>
      </dsp:txBody>
      <dsp:txXfrm>
        <a:off x="7095930" y="29998"/>
        <a:ext cx="1721670" cy="834861"/>
      </dsp:txXfrm>
    </dsp:sp>
    <dsp:sp modelId="{D7CC8482-669B-471C-8BF2-4415CFB53EE5}">
      <dsp:nvSpPr>
        <dsp:cNvPr id="0" name=""/>
        <dsp:cNvSpPr/>
      </dsp:nvSpPr>
      <dsp:spPr>
        <a:xfrm rot="19457599">
          <a:off x="6278389" y="1708902"/>
          <a:ext cx="873687" cy="26630"/>
        </a:xfrm>
        <a:custGeom>
          <a:avLst/>
          <a:gdLst/>
          <a:ahLst/>
          <a:cxnLst/>
          <a:rect l="0" t="0" r="0" b="0"/>
          <a:pathLst>
            <a:path>
              <a:moveTo>
                <a:pt x="0" y="13315"/>
              </a:moveTo>
              <a:lnTo>
                <a:pt x="873687" y="13315"/>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a-DK" sz="500" kern="1200"/>
        </a:p>
      </dsp:txBody>
      <dsp:txXfrm>
        <a:off x="6693390" y="1700375"/>
        <a:ext cx="43684" cy="43684"/>
      </dsp:txXfrm>
    </dsp:sp>
    <dsp:sp modelId="{FC04DA1C-A36E-479E-967A-95D1A1B18CEA}">
      <dsp:nvSpPr>
        <dsp:cNvPr id="0" name=""/>
        <dsp:cNvSpPr/>
      </dsp:nvSpPr>
      <dsp:spPr>
        <a:xfrm>
          <a:off x="7069956" y="1023855"/>
          <a:ext cx="1773618" cy="88680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da-DK" sz="1900" kern="1200" dirty="0"/>
            <a:t>Filer</a:t>
          </a:r>
        </a:p>
      </dsp:txBody>
      <dsp:txXfrm>
        <a:off x="7095930" y="1049829"/>
        <a:ext cx="1721670" cy="834861"/>
      </dsp:txXfrm>
    </dsp:sp>
    <dsp:sp modelId="{A64CB1AD-0103-4BEF-998C-CF93C9E0B84F}">
      <dsp:nvSpPr>
        <dsp:cNvPr id="0" name=""/>
        <dsp:cNvSpPr/>
      </dsp:nvSpPr>
      <dsp:spPr>
        <a:xfrm rot="2142401">
          <a:off x="6278389" y="2218817"/>
          <a:ext cx="873687" cy="26630"/>
        </a:xfrm>
        <a:custGeom>
          <a:avLst/>
          <a:gdLst/>
          <a:ahLst/>
          <a:cxnLst/>
          <a:rect l="0" t="0" r="0" b="0"/>
          <a:pathLst>
            <a:path>
              <a:moveTo>
                <a:pt x="0" y="13315"/>
              </a:moveTo>
              <a:lnTo>
                <a:pt x="873687" y="13315"/>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a-DK" sz="500" kern="1200"/>
        </a:p>
      </dsp:txBody>
      <dsp:txXfrm>
        <a:off x="6693390" y="2210290"/>
        <a:ext cx="43684" cy="43684"/>
      </dsp:txXfrm>
    </dsp:sp>
    <dsp:sp modelId="{A6F405E3-D6DC-45F2-A634-0D32B221C293}">
      <dsp:nvSpPr>
        <dsp:cNvPr id="0" name=""/>
        <dsp:cNvSpPr/>
      </dsp:nvSpPr>
      <dsp:spPr>
        <a:xfrm>
          <a:off x="7069956" y="2043685"/>
          <a:ext cx="1773618" cy="88680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da-DK" sz="1900" kern="1200" dirty="0"/>
            <a:t>Klassenotesbog</a:t>
          </a:r>
        </a:p>
      </dsp:txBody>
      <dsp:txXfrm>
        <a:off x="7095930" y="2069659"/>
        <a:ext cx="1721670" cy="834861"/>
      </dsp:txXfrm>
    </dsp:sp>
    <dsp:sp modelId="{4FF4CD90-CEEE-451B-A6D1-4258FF91A20E}">
      <dsp:nvSpPr>
        <dsp:cNvPr id="0" name=""/>
        <dsp:cNvSpPr/>
      </dsp:nvSpPr>
      <dsp:spPr>
        <a:xfrm rot="3907178">
          <a:off x="5872108" y="2728732"/>
          <a:ext cx="1686250" cy="26630"/>
        </a:xfrm>
        <a:custGeom>
          <a:avLst/>
          <a:gdLst/>
          <a:ahLst/>
          <a:cxnLst/>
          <a:rect l="0" t="0" r="0" b="0"/>
          <a:pathLst>
            <a:path>
              <a:moveTo>
                <a:pt x="0" y="13315"/>
              </a:moveTo>
              <a:lnTo>
                <a:pt x="1686250" y="13315"/>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a-DK" sz="500" kern="1200"/>
        </a:p>
      </dsp:txBody>
      <dsp:txXfrm>
        <a:off x="6673076" y="2699892"/>
        <a:ext cx="84312" cy="84312"/>
      </dsp:txXfrm>
    </dsp:sp>
    <dsp:sp modelId="{3E1A50CF-9775-457B-85EA-C7DD8AF2FA9B}">
      <dsp:nvSpPr>
        <dsp:cNvPr id="0" name=""/>
        <dsp:cNvSpPr/>
      </dsp:nvSpPr>
      <dsp:spPr>
        <a:xfrm>
          <a:off x="7069956" y="3063516"/>
          <a:ext cx="1773618" cy="886809"/>
        </a:xfrm>
        <a:prstGeom prst="roundRect">
          <a:avLst>
            <a:gd name="adj" fmla="val 10000"/>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da-DK" sz="1900" kern="1200" dirty="0"/>
            <a:t>Opgaver</a:t>
          </a:r>
        </a:p>
      </dsp:txBody>
      <dsp:txXfrm>
        <a:off x="7095930" y="3089490"/>
        <a:ext cx="1721670" cy="834861"/>
      </dsp:txXfrm>
    </dsp:sp>
    <dsp:sp modelId="{1AF50C2F-A329-4921-805B-E51367A8F3E8}">
      <dsp:nvSpPr>
        <dsp:cNvPr id="0" name=""/>
        <dsp:cNvSpPr/>
      </dsp:nvSpPr>
      <dsp:spPr>
        <a:xfrm rot="3907178">
          <a:off x="3389041" y="4258479"/>
          <a:ext cx="1686250" cy="26630"/>
        </a:xfrm>
        <a:custGeom>
          <a:avLst/>
          <a:gdLst/>
          <a:ahLst/>
          <a:cxnLst/>
          <a:rect l="0" t="0" r="0" b="0"/>
          <a:pathLst>
            <a:path>
              <a:moveTo>
                <a:pt x="0" y="13315"/>
              </a:moveTo>
              <a:lnTo>
                <a:pt x="1686250" y="13315"/>
              </a:lnTo>
            </a:path>
          </a:pathLst>
        </a:custGeom>
        <a:noFill/>
        <a:ln w="1079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a-DK" sz="500" kern="1200"/>
        </a:p>
      </dsp:txBody>
      <dsp:txXfrm>
        <a:off x="4190010" y="4229638"/>
        <a:ext cx="84312" cy="84312"/>
      </dsp:txXfrm>
    </dsp:sp>
    <dsp:sp modelId="{18759E7E-1022-4928-A78E-6770686EEEF7}">
      <dsp:nvSpPr>
        <dsp:cNvPr id="0" name=""/>
        <dsp:cNvSpPr/>
      </dsp:nvSpPr>
      <dsp:spPr>
        <a:xfrm>
          <a:off x="4586890" y="4593262"/>
          <a:ext cx="1773618" cy="886809"/>
        </a:xfrm>
        <a:prstGeom prst="roundRect">
          <a:avLst>
            <a:gd name="adj" fmla="val 10000"/>
          </a:avLst>
        </a:prstGeom>
        <a:solidFill>
          <a:schemeClr val="tx2">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da-DK" sz="1900" kern="1200" dirty="0"/>
            <a:t>(Ny kanal)</a:t>
          </a:r>
        </a:p>
      </dsp:txBody>
      <dsp:txXfrm>
        <a:off x="4612864" y="4619236"/>
        <a:ext cx="1721670" cy="834861"/>
      </dsp:txXfrm>
    </dsp:sp>
    <dsp:sp modelId="{CC096C23-E234-47EC-86B0-3145A1BFD7FB}">
      <dsp:nvSpPr>
        <dsp:cNvPr id="0" name=""/>
        <dsp:cNvSpPr/>
      </dsp:nvSpPr>
      <dsp:spPr>
        <a:xfrm rot="19457599">
          <a:off x="6278389" y="4768394"/>
          <a:ext cx="873687" cy="26630"/>
        </a:xfrm>
        <a:custGeom>
          <a:avLst/>
          <a:gdLst/>
          <a:ahLst/>
          <a:cxnLst/>
          <a:rect l="0" t="0" r="0" b="0"/>
          <a:pathLst>
            <a:path>
              <a:moveTo>
                <a:pt x="0" y="13315"/>
              </a:moveTo>
              <a:lnTo>
                <a:pt x="873687" y="13315"/>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a-DK" sz="500" kern="1200"/>
        </a:p>
      </dsp:txBody>
      <dsp:txXfrm>
        <a:off x="6693390" y="4759867"/>
        <a:ext cx="43684" cy="43684"/>
      </dsp:txXfrm>
    </dsp:sp>
    <dsp:sp modelId="{94F1CDA8-C88E-4F09-A280-03C3C14E5A38}">
      <dsp:nvSpPr>
        <dsp:cNvPr id="0" name=""/>
        <dsp:cNvSpPr/>
      </dsp:nvSpPr>
      <dsp:spPr>
        <a:xfrm>
          <a:off x="7069956" y="4083347"/>
          <a:ext cx="1773618" cy="886809"/>
        </a:xfrm>
        <a:prstGeom prst="roundRect">
          <a:avLst>
            <a:gd name="adj" fmla="val 10000"/>
          </a:avLst>
        </a:prstGeom>
        <a:solidFill>
          <a:schemeClr val="tx2">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da-DK" sz="1900" kern="1200" dirty="0"/>
            <a:t>(Samtaler)</a:t>
          </a:r>
        </a:p>
      </dsp:txBody>
      <dsp:txXfrm>
        <a:off x="7095930" y="4109321"/>
        <a:ext cx="1721670" cy="834861"/>
      </dsp:txXfrm>
    </dsp:sp>
    <dsp:sp modelId="{BD1B2B88-13EB-40E9-95B9-CB0166CE00A0}">
      <dsp:nvSpPr>
        <dsp:cNvPr id="0" name=""/>
        <dsp:cNvSpPr/>
      </dsp:nvSpPr>
      <dsp:spPr>
        <a:xfrm rot="2155225">
          <a:off x="6277212" y="5280322"/>
          <a:ext cx="876042" cy="26630"/>
        </a:xfrm>
        <a:custGeom>
          <a:avLst/>
          <a:gdLst/>
          <a:ahLst/>
          <a:cxnLst/>
          <a:rect l="0" t="0" r="0" b="0"/>
          <a:pathLst>
            <a:path>
              <a:moveTo>
                <a:pt x="0" y="13315"/>
              </a:moveTo>
              <a:lnTo>
                <a:pt x="876042" y="13315"/>
              </a:lnTo>
            </a:path>
          </a:pathLst>
        </a:custGeom>
        <a:noFill/>
        <a:ln w="1079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da-DK" sz="500" kern="1200"/>
        </a:p>
      </dsp:txBody>
      <dsp:txXfrm>
        <a:off x="6693332" y="5271736"/>
        <a:ext cx="43802" cy="43802"/>
      </dsp:txXfrm>
    </dsp:sp>
    <dsp:sp modelId="{AADC60C0-0361-4FA2-AEE5-5ACF3A7482C9}">
      <dsp:nvSpPr>
        <dsp:cNvPr id="0" name=""/>
        <dsp:cNvSpPr/>
      </dsp:nvSpPr>
      <dsp:spPr>
        <a:xfrm>
          <a:off x="7069956" y="5107202"/>
          <a:ext cx="1773618" cy="886809"/>
        </a:xfrm>
        <a:prstGeom prst="roundRect">
          <a:avLst>
            <a:gd name="adj" fmla="val 10000"/>
          </a:avLst>
        </a:prstGeom>
        <a:solidFill>
          <a:schemeClr val="tx2">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a:lnSpc>
              <a:spcPct val="90000"/>
            </a:lnSpc>
            <a:spcBef>
              <a:spcPct val="0"/>
            </a:spcBef>
            <a:spcAft>
              <a:spcPct val="35000"/>
            </a:spcAft>
            <a:buNone/>
          </a:pPr>
          <a:r>
            <a:rPr lang="da-DK" sz="1900" kern="1200" dirty="0"/>
            <a:t>(Filer)</a:t>
          </a:r>
        </a:p>
      </dsp:txBody>
      <dsp:txXfrm>
        <a:off x="7095930" y="5133176"/>
        <a:ext cx="1721670" cy="834861"/>
      </dsp:txXfrm>
    </dsp:sp>
  </dsp:spTree>
</dsp:drawing>
</file>

<file path=ppt/diagrams/layout1.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9-02-25T13:00:06.150"/>
    </inkml:context>
    <inkml:brush xml:id="br0">
      <inkml:brushProperty name="width" value="0.025" units="cm"/>
      <inkml:brushProperty name="height" value="0.025" units="cm"/>
    </inkml:brush>
  </inkml:definitions>
  <inkml:trace contextRef="#ctx0" brushRef="#br0">1565 1615 6784,'-24'-57'2624,"24"49"-2048,12 5-128,-12 3-256,16 7-288,4 4 64,9 6-480,3 9-192,-1 6 352,5 3 160,5 5 16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5-02T12:31:53.347"/>
    </inkml:context>
    <inkml:brush xml:id="br0">
      <inkml:brushProperty name="width" value="0.1" units="cm"/>
      <inkml:brushProperty name="height" value="0.1" units="cm"/>
    </inkml:brush>
  </inkml:definitions>
  <inkml:trace contextRef="#ctx0" brushRef="#br0">457 346 5811,'3'-5'920,"-1"2"-34,-1 2-50,-1 2-67,0 1-83,0 2-101,-1-1-117,1 0-283,-1-1-36,1 1-6,-1 0-76,1-1-82,-1 1-86,-1 22 493,0 0-40,1-1-38,1 1-35,2 24 185,1 1-111,1-11-138,1 0-48,4 20 13,1-1-55,6 48 71,-7-35-7,5 134 62,-14-1-107,-23 206-5,15-294-97,5-46-72,4 92 151,2-105-170,-1-26-27,0 0-45,1-1-51,0 1-61,-3-28 85,0-1 52,0 4 14,1 5 63,-1-7-42,1-1-9,-1-1-34,1 1-42,-1-1-48,1 0-10,-1 0-41,1-1-47,0 1-50,0 0-54,-1-1-58,1 1-62,1-1-66,-2-1-194,1 0 343,-1 1-37,0-2-40,1 1-45,-1 0-48,1 0-52,-1 0-506,1-1-117,0 0-367,1 0-949</inkml:trace>
  <inkml:trace contextRef="#ctx0" brushRef="#br0" timeOffset="162.078">0 527 6867,'0'0'717,"0"1"-85,1-1-80,-1 0-76,1-1-70,0 1-65,0 0-59,0-1-55,0 1-60,1-1-39,1 0 29,-1 0-108,1-1-54,6-2-146,-6 2 146,-1 2 43,-1-1 38,0 0 44,0 1 51,24-14 249,-1 0-60,1-1-55,-1 0-50,12-7 46,0-1-84,0-1-66,-1 0-50,78-50 81,-64 44-73,-31 19-279,0 0 65,0 0 57,1 0 47,1-1 46,1 0 37,46-27 289,-38 23-239,7-2-63,-21 10-83,1 0-34,0 0-41,0 1-44,0-1-51,1 1-54,-1 0-61,0 1-65,1-1-70,-1 1-76,1 0-80,0 0-86,-1 1-91,1 0-95,0 0-101,0 0-105,-11 4 500,0-1-35,6 0-691,2-1-379,7-1-971</inkml:trace>
  <inkml:trace contextRef="#ctx0" brushRef="#br0" timeOffset="887.199">1113 1498 5218,'10'-6'714,"0"-1"-66,-1 1-61,1-1-59,-1 0-55,1 0-52,-1 0-49,0 0-47,0 0-41,0-1-41,0 1-36,-1-1-33,9-7 87,-1-2-94,5-5-48,23-35 17,-30 35-22,0-2 109,-8 12-58,0-1 43,8-17-1,0-2-37,9-36 92,-20 56-214,0-1 0,0 1 0,-1-1 0,-1 1 1,0-1-1,-1 0 0,0 1 0,-1-1 0,-2-11-48,-5 0 85,7 21-68,0 1-1,-1 0 1,1-1-1,-1 1 1,1 0-1,-1 0 1,0 0-1,0 0 1,0 0-1,0 1 1,-1-2-17,2 2 9,0 1 0,-1-1 1,1 0-1,0 1 0,-1-1 0,1 1 1,-1-1-1,1 1 0,-1 0 1,1-1-1,-1 1 0,1 0 0,-1 0 1,0 0-1,1 0 0,-1 1 1,1-1-1,-2 1-9,0 0 7,1 0 1,-1 0-1,1 0 1,-1 0-1,1 1 1,-1-1-1,1 1 1,-2 1-8,-15 15 16,0 1 0,2 1 1,0 1-1,-11 19-16,3-6 7,1-2 1,1 0 1,2 2-1,2 1 1,1 0-1,1 1 1,3 1-1,-1 5-8,9-24 2,2 0 0,0 1 0,1-1 0,1 1 0,1-1 0,0 1 0,1 0 0,1-1 0,1 1 0,1 0 0,1-1 0,0 0 0,1 0 0,1 0-1,0-1 1,4 4-2,13 19 19,7-5-36,5-5-41,4-5-48,4-7-53,2-7-60,1-9-65,-36-2 165,0-1 0,0-1 0,6-1 119,22-8-404,-22 6 157,-7 2 61,0-1-45,-1 1-54,1-1-62,-2 1 3,0 0-55,0 0-59,0-1-66,1 1-69,-1-1-75,0 0-80,0 0-85,0 0-181,1-1-106,1 0-326,4-4-837,-13 9 2279</inkml:trace>
  <inkml:trace contextRef="#ctx0" brushRef="#br0" timeOffset="1478.719">2194 853 5330,'-3'-5'552,"0"1"-35,-4-5 420,0 2-121,0 0-110,-2 1-102,1 2-90,-1 0-82,0 2-70,2 0-118,-1 2-33,-7 0 130,1 4-99,10-3-171,0 1 1,0 0-1,0 0 0,0 1 0,0-1 1,0 1-1,0 0-71,-3 3 108,0 0-1,0 1 1,-4 6-108,-17 26 212,9-6-98,-8 18 2,15-26-65,1-1-37,0 0 0,1 1-1,2 0 1,1 1-1,0 0 1,2 0 0,1 6-14,2-12 7,1 0 1,0 0-1,2 0 1,0-1-1,2 1 1,0 0-1,1-1 1,1 0-1,7 18-7,-9-29-9,0-1-1,1 0 0,0 0 1,1 1 9,-1-2-21,1 0-1,-1-1 1,1 1-1,0-1 1,1-1-1,-1 1 1,5 3 21,-5-6-15,-1 1 0,0-1 0,1 0 0,-1 0 0,1 0 0,-1-1 0,1 1 0,0-1 1,0 0-1,-1-1 0,3 1 15,-2-1-8,-1 0 0,1-1 0,-1 1 0,0-1 0,1 0 0,-1 0 0,0 0 0,3-1 8,3-3-7,0 0-1,0 0 1,-1 0 0,0-1 0,0-1-1,-1 0 1,1 0 0,-1 0 0,-1-1-1,0 0 1,0-1 0,0 0 0,-1 0-1,0 0 1,-1-1 0,1-3 7,10-23-37,-3 0-1,0-2 1,-3 1 0,-1-2 37,1-3-28,2 1 1,10-23 27,-20 60 0,14-30-9,-14 31 8,-1 1 1,1-1-1,-1 1 0,1 0 1,0 0-1,0-1 0,0 1 1,0 0-1,0 1 0,0-1 1,1-1 0,-2 3 0,-1 1 0,0-1 1,1 0-1,-1 0 0,0 0 0,1 0 1,-1 0-1,0 0 0,1 0 0,-1 0 1,0 1-1,0-1 0,1 0 1,-1 0-1,0 0 0,0 1 0,1-1 1,-1 0-1,0 0 0,0 1 0,1-1 1,-1 0-1,0 1 0,0-1 0,0 0 1,0 0-1,0 1 0,0-1 1,1 0-1,-1 1 0,0-1 0,0 0 1,0 1-1,0-1 0,0 0 0,0 1 1,0-1-1,0 0 0,-1 1 0,3 15 22,-2-15-20,0 28 42,-1-1 0,-2 4-44,0-1 45,1 24-45,7-13-16,7 0-39,-9-34-76,1 0 59,11 18-8,-8-15-9,-2-6 2,-1 0-38,0 0-45,0 0-53,2 0-96,-1 0-86,0 0-95,1 0-106,-1-1-116,-2-2 314,0-1-34,0 1-33,0 0-36,0-1-37,0 1-38,2 0-474,0 0-111,0-1-341,4 2-876</inkml:trace>
  <inkml:trace contextRef="#ctx0" brushRef="#br0" timeOffset="2255.985">2775 633 6131,'0'0'713,"0"0"-82,0 0-76,0 1-72,0-1-67,-1 0-62,1 1-57,0-1-53,0 1-59,-1-1-38,1 1 50,-1 0-113,0 0-55,0 4-90,0-4 77,1 1 102,-1-1-4,1 0 46,-2 21 397,0 0-106,1 0-96,1 0-85,0 5-42,1 0-87,1 5-61,2 17-75,1 21-37,-4-47 61,-1 0 40,0 27-62,1 32-50,4-41-24,4-2-41,-9-38 107,0-1 0,0 1 0,0-1 0,0 1 0,0 0 0,0-1 0,1 1 0,-1-1 0,0 1 0,0-1 0,1 1 0,-1-1 0,0 1 0,1-1 0,-1 1 0,1-1 0,-1 1 0,0-1 0,1 1 0,-1-1 0,1 0 0,-1 1 0,1-1 0,-1 0 0,1 1 0,0-1 0,-1 0 0,1 0 0,-1 0 0,1 0 0,0 1 1,0-2-4,0 1 1,0-1 0,0 1 0,0-1 0,0 1 0,0-1-1,0 0 1,0 0 0,0 1 0,0-1 0,-1 0 0,1 0 0,0 0-1,-1 0 1,2-1 3,4-9-25,0 0 0,0 0 0,0-4 25,-3 10-3,34-88-12,21-78 15,-44 128 1,-6 18 13,2 0-1,1 0 0,1 0 1,3-2-14,-5 11 33,1-1 1,9-8-34,-11 14 39,2 0 0,-1 1 0,9-6-39,4 0 69,5 4 67,-26 12-118,1-1 0,-1 1 0,0-1 0,0 1-1,0 0 1,1 0 0,-1 0 0,0 0 0,0 0 0,0 1-1,2-1-17,-3 1 14,1 0 0,-1-1 0,0 1 0,1 0 0,-1-1 0,0 1-1,0 0 1,0 0 0,1 0 0,-1 0 0,0 0 0,0 0 0,0 0-1,-1 1 1,1-1 0,0 0 0,0 0 0,0 1-14,14 39 228,-6 4-85,-5-9-73,-1 20-13,0-11-24,2 98-4,-3-81-42,0 0-35,-2-59 37,4 29-66,1-17-11,-4-14 78,-1-1 0,0 1 0,1-1 0,-1 1 0,1-1 1,-1 1-1,1-1 0,-1 1 0,1-1 0,-1 1 0,1-1 1,-1 1-1,1-1 0,0 0 0,-1 1 0,2-1 10,5-1-102,0-5 43,4-11 10,-9 13 38,17-30-17,-2-2-1,-1 0 1,-2-1 0,0-6 28,20-51-34,-8 30-5,6-5 39,-20 47-2,1 0 1,0 0-1,2 2 1,12-15 1,-23 31 3,-1 0 0,1 1 1,0-1-1,0 1 0,0 0 0,1-1-3,-4 4 3,0-1-1,-1 1 0,1-1 0,0 1 1,0 0-1,-1-1 0,1 1 0,0 0 1,0 0-1,0-1 0,0 1 0,-1 0 1,1 0-1,0 0 0,0 0 0,0 0 0,0 0 1,0 0-1,-1 0 0,1 1 0,0-1 1,0 0-1,0 0 0,0 1 0,-1-1 1,1 0-1,0 1 0,0-1 0,-1 1 1,1-1-1,0 1 0,-1 0 0,1-1 1,-1 1-1,1-1 0,-1 1 0,1 0 1,-1 0-1,1-1 0,-1 1-2,4 9 20,-1 0 0,0 0-1,0-1 1,-1 2 0,-1-1-1,0 0 1,0 0 0,-1 10-20,1 8 32,3 9-33,8 46 70,-1-32-86,2-11-96,-6-20 8,2 0-40,0 0-44,1-1-50,1 0-56,1-1-60,-8-11-1,1 0-67,0-1-86,-1 1-103,1 0-120,-3-4 316,1 0-37,-1 0-38,0 1-42,1-1-42,-1 0-45,2 2-491,-1 0-114,2 1-357,1 2-914</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5-02T12:31:58.708"/>
    </inkml:context>
    <inkml:brush xml:id="br0">
      <inkml:brushProperty name="width" value="0.1" units="cm"/>
      <inkml:brushProperty name="height" value="0.1" units="cm"/>
    </inkml:brush>
  </inkml:definitions>
  <inkml:trace contextRef="#ctx0" brushRef="#br0">209 27 6451,'-1'-6'654,"1"2"-53,-1 0-50,0 0-48,-1 2-46,1-1-44,-1 2-41,0 0-38,-1 0-37,1 1-35,-4 0 170,0 2-110,0 1-91,0 1-78,-1 1-50,-12 12 82,13-10-77,3-3-7,0-1 39,-12 15-66,2 1 1,-3 5-75,2 0 108,1 1 1,2-1-1,-3 10-108,-7 35 186,11-24-92,8-26-59,0 0 0,1 18-35,1-31-1,1 0 0,0 0 0,0 0 0,0 0 0,0 0 0,1 0 0,0 1 1,-1-6 0,-1 0-1,0 0 1,1 0 0,-1 0-1,1 0 1,-1 0 0,1 0-1,0 0 1,-1 0 0,1 0 0,0 0-1,0 0 1,0 0 0,0-1-1,-1 1 1,1 0 0,0-1-1,0 1 1,0-1 0,1 1 0,-1-1-1,0 1 1,0-1 0,0 0-1,0 1 1,0-1 0,0 0-1,1 0 1,-1 0 0,0 0 0,0 0-1,0 0 1,0 0 0,1 0-1,-1-1 1,0 1 0,0 0 0,1-1 0,4-2-4,0 0 0,0-1 0,0 1 1,0-2-1,-1 1 0,0 0 0,0-1 1,0 0-1,0 0 0,-1 0 1,0-1-1,0 0 0,0 1 0,2-7 4,5-11-13,0 0-1,-2-1 0,2-8 14,13-49-29,-10 33 10,16-37 19,-18 67-15,-7 15 15,-3 13 15,-6 38 127,-10 42-142,6-42 36,1-1-39,2 17-95,5-52-25,0 21 27,1-19-19,0-8 16,-1 1-39,1-1-48,-1 0-53,1 2-99,1-1-86,-1-1-95,0 1-105,1 0-116,0 0-125,-1-4 383,0 0-36,0 1-35,0-1-39,0 0 28,0-1-36,2 3-690,0 1-378,1 2-97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5-02T12:31:59.067"/>
    </inkml:context>
    <inkml:brush xml:id="br0">
      <inkml:brushProperty name="width" value="0.1" units="cm"/>
      <inkml:brushProperty name="height" value="0.1" units="cm"/>
    </inkml:brush>
  </inkml:definitions>
  <inkml:trace contextRef="#ctx0" brushRef="#br0">137 4 7139,'-1'-2'587,"1"2"-56,-1-1-53,0 1-51,1 0-49,-1 0-44,0 0-43,0 1-40,0-1-36,1 1-35,-2 2 89,0-1-103,1 1-81,-1 2-61,-2 5-82,3-7 98,0 0 92,0-2-18,1 0 36,-8 32 365,1 1-110,2-8-161,1 0-42,-3 27 111,-11 59 228,5-42-291,2 0-38,2 1-37,1 0-35,-2 72 39,7 1-124,-3 1-96,3-101-39,1 0-101,1-22 39,0 0-39,1 0-46,1-1-49,-1-18 139,0-1 45,0 7-111,0-4 42,1-3 13,-1 0-58,0 1-69,0-1-82,1 0-11,-1-1-73,0 1-79,1 0-86,-1-1-93,1 1-101,0-1-108,-1 0-113,0 0 442,1-1-34,-1 0-703,1 0-383,0 0-984,-1 0 2679</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5-02T12:31:56.593"/>
    </inkml:context>
    <inkml:brush xml:id="br0">
      <inkml:brushProperty name="width" value="0.1" units="cm"/>
      <inkml:brushProperty name="height" value="0.1" units="cm"/>
    </inkml:brush>
  </inkml:definitions>
  <inkml:trace contextRef="#ctx0" brushRef="#br0">101 105 6883,'0'-3'575,"0"0"-45,0 1-45,0 0-43,0 0-39,-1 1-39,1 0-37,0 0-34,-1 1 197,1 1-114,-1 0-101,0 1-83,0 2-52,0 0-71,-1 12-21,2-10 55,-1 43 222,3 0-56,1 0-48,1 0-46,1 3-34,-2-1-38,-1-10 13,-3 22-116,-20 124 106,2-17-63,10-32-24,1 0 42,0-46-65,-2-15-64,-3 0-84,11-70-67,1 0 97,0-1 77,0-1 38,-2 15 84,2-11-81,0-1-80,0-3-1,0-1-35,0 3-146,0-1-116,1-2 142,0-1-35,-1 0-39,1 1-40,-1-1-42,1 0-46,-1 0-47,1 0-50,-1 1-52,1-1-55,-1 0-56,0 0-59,1-1-338,0 0-112,-1 1-352,1 0-903,0-3 2461</inkml:trace>
  <inkml:trace contextRef="#ctx0" brushRef="#br0" timeOffset="730.834">764 1 3826,'0'11'1125,"0"-3"-418,0-1-54,0 1-51,0 0-51,0-1-49,-1 0-46,0 1-45,0-1-44,0 0-41,-1 1-40,0-1-38,0 0-37,-1 0-34,-1 0-33,-4 6 53,-31 44 64,1 1-119,-11 16-93,-2-3-102,26-37-16,-3-1 0,0-2 0,-8 4 69,-42 39-153,-11 11 0,28-31 91,56-50 55,0 0 1,-1-1 0,1 1-1,-1-1 1,-1 0 6,9-8 40,8-3 51,-7 6-54,0 0 0,0 1-1,1 0 1,-1 0 0,1 0 0,-1 0 0,0 0 0,1 0 0,-1 1 0,1 0 0,0 0 0,-1 0 0,1 0 0,-1 0 0,1 1 0,0 0-37,-1 0 37,1 0 0,-1 0 0,0 1-1,0-1 1,0 1 0,0 0 0,1 1-37,20 20 172,5 14 23,-1 1-33,-7-6 72,7 16-234,-12-16 140,8 21-140,-12-20 70,6 25-70,-16-49-105,1 1 49,2 10 59,10 42 332,-11-49-315,0-1-56,0-1-48,0-1-61,0 1-70,1-1-80,-1 0-89,2-1-99,-1 0-109,1 0-119,-4-6 33,-1-2 295,0 1-34,0-1-40,0 0-42,0 0-49,0 0-50,0 1-470,1-1-114,0 1-348,2 1-888,-4-3 2410</inkml:trace>
  <inkml:trace contextRef="#ctx0" brushRef="#br0" timeOffset="1269.136">1149 612 5667,'-5'-7'722,"0"1"-60,0 1-58,-1 0-55,0 1-53,0 1-49,0 1-47,0 0-45,0 1-41,-1 0-38,1 1-37,-1 1-33,-6 1 117,-1 3-100,3-1-98,0 2-42,1 0-13,0 0-1,0 1 0,-7 8-69,4-4 137,3 1 102,-25 29-48,4 6-71,11-15-64,2 2 1,2 0-1,-5 15-56,11-23 16,2 0-1,0 1 1,2 0-1,1 0 0,0 8-15,4-22 4,0-1-1,1 1 0,1 0 0,0 0 0,0-1 0,1 1 0,1-1 0,0 1 1,1-1-1,0 0 0,1 0 0,3 5-3,-5-11-2,0-1 0,1 1 0,0-1 0,0 0 0,1 0 0,-1 0 0,1-1 0,0 1 0,0-1 1,6 3 1,-6-4-5,1 0 1,0 0-1,-1-1 0,1 0 1,0 0-1,0 0 1,1 0-1,-1-1 1,0 0-1,0-1 1,1 0-1,-1 0 1,0 0-1,0 0 1,1-1-1,-1 0 1,0 0-1,0-1 1,0 0-1,0 0 1,0 0-1,0-1 1,-1 0-1,1 0 1,-1 0-1,0-1 1,4-2 3,4-7 1,1 0 0,-2 0-1,0-1 1,0-1 0,-1 0-1,-1-1 1,-1 0 0,0 0-1,1-6 1,11-27 0,-2 0 1,7-35-1,-6 7 5,-3 13 27,8-15-32,-23 76 66,-2 5-12,-1 13 24,-3 25 18,3-38-88,-6 59 52,-2 42 159,7-58-155,3 9-68,0-28-44,1 0-40,1 1-45,1-2-52,1 1-57,1-1-63,-3-13-256,0-3 79,-1-2-31,0-4 207,-1 1-37,1 1-324,-1-2 285,0 0-36,1 0-38,-1 0-40,0-1-43,1 1-45,-1-1 29,0 0-36,2 3-678,0 0-374,2 3-955</inkml:trace>
  <inkml:trace contextRef="#ctx0" brushRef="#br0" timeOffset="1722.492">1615 589 6291,'-1'5'753,"0"0"-88,0 0-132,-1 0-65,1 0-61,0-1-57,0 1-53,0 0-49,-1 0-45,1-1-42,0 2-23,0-1-41,-2 6-4,1-1-94,-3 15-121,4-18 114,0 1 41,-1 1 80,1 0 106,-8 71-34,2 1-90,5-23-62,2-1 0,2 1 0,5 14-33,-3-53-12,-1-17-7,2-11 5,2-19 12,2-5 3,1-1-1,2 2 1,8-16-1,0 6 15,62-122-3,-53 111 42,2 1 62,-31 51-110,27-39 214,-11 23-19,-7 10-55,0 1 42,-3 5-9,-2 4-32,-1 9 63,-4 1-102,-1 6-5,2-17-87,-2 9-144,0-1 36,-2 12 4,0-1 103,0 1 79,1-2 41,-6 27 239,5-18-194,1-13-123,1 1-45,0-1-55,0 0-65,1 4-135,0-10 71,1 1-38,-1-1-39,1 0-43,0 0-44,0 0-48,1 0-50,-1 0-52,1 0-55,0 0-58,0 0-60,0 0-63,1 0-65,0 0-68,-1-3-237,0-1-114,1 1-352,1 3-906,-3-9 2352</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05-02T12:32:01.177"/>
    </inkml:context>
    <inkml:brush xml:id="br0">
      <inkml:brushProperty name="width" value="0.1" units="cm"/>
      <inkml:brushProperty name="height" value="0.1" units="cm"/>
    </inkml:brush>
  </inkml:definitions>
  <inkml:trace contextRef="#ctx0" brushRef="#br0">65 913 4946,'-3'4'452,"0"0"-37,-3 3 314,0 1-119,1 0-104,1-2-205,0 0-36,-3 6 178,-13 28 702,17-31-854,0 0 51,2-3-6,2-5-65,2-2-59,1-3-51,0-1-42,1-1-36,0-2 7,23-32 229,0-1-100,-2 4-77,51-67 137,-43 61-117,137-151 520,-63 76-313,-98 106-340,67-72 176,-63 71-174,0 1 0,0 0 0,1 1 0,0 1 1,3-1-32,-3 1 31,13-8 10,-27 17-38,0 0 0,1 1 1,-1-1-1,0 0 0,1 1 0,-1-1 1,1 1-1,-1 0 0,1 0 1,-1-1-1,1 1 0,-1 0 0,0 0 1,1 0-1,-1 0 0,1 1 1,-1-1-4,0 1 1,0-1 1,0 1-1,0 0 1,0 0-1,0 0 1,0 0-1,-1 0 1,1 0 0,0 0-1,-1 0 1,1 0-1,-1 0 1,1 0-1,-1 0 1,0 0-1,1 0 1,-1 1 0,0-1-1,0 0 1,0 0-1,1 0 1,-2 1-2,2 32 25,-1-29-20,-5 78 31,-3-1 1,-7 15-37,-36 161 36,50-254-36,-8 37-1,1-8-8,-2 21 9,9-43-23,0 1-1,1 0 1,1 10 23,-1-21-6,0-1 0,0 1 0,0 0 0,0-1 0,0 1 0,0 0 0,0 0 0,0-1 0,0 1 0,1 0 0,-1-1 0,0 1 0,0 0 0,1-1 0,-1 1 0,1-1 0,-1 1 0,0 0 0,1-1 0,-1 1 0,1-1 0,-1 1 0,1-1 0,0 1 0,0-1 6,-1 0-8,1 0 1,0 0 0,0 0 0,-1 0 0,1 0 0,0 0 0,0 0-1,-1-1 1,1 1 0,0 0 0,0-1 0,-1 1 0,1 0-1,0-1 1,-1 1 0,1-1 0,-1 1 0,1-1 0,0 0 7,15-16-106,-3 0 45,-10 13 52,18-26-130,15-29 139,14-35-82,-15 27 15,9-7 67,5 1-15,3 3 0,15-12 15,127-125 1,-152 162 22,13-13 34,-54 58-55,-1-1 0,0 1 0,0 0 0,1-1-1,-1 1 1,0 0 0,1 0 0,-1-1 0,0 1 0,1 0 0,-1 0 0,0 0 0,1-1 0,-1 1-1,0 0 1,1 0 0,-1 0 0,1 0 0,-1 0 0,0 0 0,1 0 0,-1 0 0,1 0 0,-1 0-1,0 0 1,1 0-2,2 8 33,-7 17 5,4-24-35,-19 67 54,-21 33-35,16-42-5,-3 13-25,-67 222 59,71-215-86,1 0-50,4-17-28,15-50-124,-1 0 110,1-3 87,1 1 37,-7 22 101,5-18-86,1 1-72,1-1-110,0-2-83,1-6 81,0 0-34,1 0-36,-1 0-40,1 0-42,0 0-45,0 0-47,0 0-51,1 0-52,-1-1-57,1 1-58,0 0-61,0 0-64,0 0-67,-1-4 274,1 0-33,0 3-670,1 0-363,0 3-935</inkml:trace>
  <inkml:trace contextRef="#ctx0" brushRef="#br0" timeOffset="445.747">1837 635 5426,'0'-8'1340,"-1"5"-714,0 0-34,0 1-36,-1 1-40,0 0-42,0 0-47,0 1-48,0 0-53,-1 1-55,0-1-59,0 1-61,0 1-64,-1-1-69,1 1-70,-10 3 337,1 2-80,-7 5-9,2 1-88,-12 7 21,-20 13 9,1 6-40,29-23-72,1 2 0,1 0 0,1 1 0,0 1-26,7-8 4,1 0 0,0 1 1,1 0-1,1 0 1,0 1-1,1-1 0,-1 5-4,3-8 2,1 0 0,0 0-1,1 1 1,0-1 0,1 0-1,0 0 1,0 0 0,1 1-1,0-1 1,3 9-2,-2-13-4,-1-1 1,1 1-1,1 0 0,-1-1 1,1 0-1,-1 0 0,2 0 1,-1 0-1,0 0 0,1 0 1,4 3 3,-3-4-8,0 1 1,0-1-1,1 0 0,0-1 1,0 0-1,0 1 1,0-2-1,0 1 0,1-1 1,-1 0-1,1 0 0,0-1 1,-1 0-1,6 0 8,-2 0-7,0-1 0,1 0 0,-1-1 1,0 0-1,1 0 0,-1-1 0,0-1 0,0 0 0,8-4 7,-9 4 5,-1-1 1,-1 0-1,1-1 1,0 0-1,-1 0 1,0 0-1,1-2-5,16-18 57,-3-4 61,-2-1 50,-2-3 38,8-21 754,5-25-960,-27 72 52,8-29 183,-2 1-41,-3 0-38,-4 0-34,-2 22-83,-1-1-1,0 1 0,-1 0 1,-1-4-39,0 5 13,0-1 1,-2 1 0,1 0-1,-5-8-13,-2-1-118,-1 0 90,0 1 60,-21-26 114,11 20-126,8 11-75,-1 1-71,0 0-88,-1 1-106,0 1-121,8 7 169,-1-1-37,0 1-40,0 0-40,0 1-44,0-1-46,1 2-300,2 1 211,2 1 16,-1 0-107,1 1 5,0-1-116,2 2 335,1-1-36,-1 0-39,0 1-41,0-1-455,0 1-87,1 0-302,-1 1-791</inkml:trace>
  <inkml:trace contextRef="#ctx0" brushRef="#br0" timeOffset="1263.596">2511 643 6595,'-1'-3'648,"-1"-1"-53,1 1-52,-1 1-50,-1-1-46,1 1-45,0 0-42,-1 1-39,0-1-39,0 1-35,-3-1 151,-1 2-113,0-1-94,2 2-94,-1-1-39,-4 2-21,-13 4-20,17-4 35,0 0 52,-1 1 114,-12 3-60,0 1 0,-8 6-158,8-4 103,2 1 0,-7 6-103,7-4 60,0 1 0,-2 4-60,-28 33 56,31-31-52,2 1 0,0 1 0,2 0 0,0 1 0,1 1 0,-6 18-4,9-16 22,0 0-1,1 5-21,-1 10 7,1 0-1,2 0 1,2 1-7,2-26-3,1 0-1,1-1 1,0 1 0,1-1 0,0 1-1,1-1 1,1 0 0,0 0-1,1 0 1,1 1 3,-5-13-3,1 1 0,-1 0 0,1 0 0,0 0 0,0-1 0,-1 1 0,2-1 1,-1 1-1,0-1 0,0 0 0,1 0 0,-1 0 0,1 0 0,0 0 0,0-1 0,0 1 0,-1-1 0,1 0 0,0 0 0,1 0 0,-1 0 0,0 0 1,0-1-1,0 1 0,2-1 3,1 0-6,1-1 1,-1 0-1,1 0 1,-1 0-1,1-1 1,-1 0 0,0 0-1,0-1 1,0 0-1,0 0 1,0 0-1,-1-1 6,12-6 18,-2-2 0,0 1 0,5-7-18,-1 0 72,-1-1 0,0-2 0,10-16-72,-2-1 244,16-33-244,-4-4 105,58-141 347,-39 68-237,-5-7-94,-11-5-36,-30 100-61,-2 0-1,-2-1 0,-4 0 0,-2-22-23,-2 59-66,0 17-22,0-1-78,1 9-44,0 0-63,-1 1-63,1 1-64,-1 1-116,0 0-76,0 0-74,0 1-73,0-1-73,0 0-72,0 0-70,0-1-70,1-1 452,-1 0-35,1 2-693,-1 1-380,0 2-975,1-6 2607</inkml:trace>
  <inkml:trace contextRef="#ctx0" brushRef="#br0" timeOffset="1735.125">3027 824 6755,'1'-4'693,"6"-15"1363,-5 12-1404,-1 0-38,-1 0 84,-2 3-101,0 3-344,-2 1-35,0 1-36,-1 2-41,-6 5 56,-1 1-77,-1 3-46,-6 7-20,12-13-29,-16 18 9,1 2 0,1 0 0,-3 7-34,5-4 29,1 1 0,-13 31-29,14-20 10,2 0 0,1 1 0,3 1 0,1 0 1,0 14-11,6-36 1,1-5-5,0 0 0,1-1 0,1 1 0,1 0 0,0 0 0,1 0 0,1 7 4,-2-21 0,1-1-1,-1 0 1,0 0 0,1 0-1,-1 0 1,0 0 0,1 0-1,0 1 1,-1-1 0,1 0-1,0 0 1,-1-1 0,1 1 0,0 0-1,0 0 1,0 0 0,0 0-1,0-1 1,0 1 0,0 0-1,0-1 1,0 1 0,1-1-1,0 1 0,0-1 1,0 1-1,0-1 0,-1 0 0,1 0 0,0 0 1,0 0-1,0-1 0,0 1 0,0 0 0,0-1 0,0 1 1,8-4-4,0 0 0,0-1 0,0 1 0,7-7 4,-9 6-1,67-44-25,-3-7-45,-26 15-168,38-46 239,-10-1-288,-3-3 0,7-20 288,-64 90-329,-5 6 25,-2 3-51,-4 7 132,1-1-37,0-1-92,0 0-61,0 0-68,1 0-75,-1 0-80,0 0-89,1 0-93,-1 0-101,0 2 70,-1 0-74,3-3-570,-1 0-87,0 1 230</inkml:trace>
  <inkml:trace contextRef="#ctx0" brushRef="#br0" timeOffset="2089.43">4030 238 5939,'0'1'897,"-1"1"-112,1-1-103,-1 1-98,1-1-88,-1 1-83,0 0-74,-1-1-67,1 1-79,0 0-43,-1 1 43,-1 0-111,-4 4-53,5-4 33,0-2 56,1 1 88,-6 6-3,0 1-37,-5 11 73,0 5-66,-5 15-2,12-27-99,-22 52 102,1 1-38,-24 61 40,-33 58-35,78-173-139,-51 98 63,-52 77-65,79-144-51,-1 2-103,0 2-95,4 1-89,5 1-81,20-48 345,-2 7-496,2-4 283,0 0-128,0-2 153,1 0-44,-1 0 11,1 0-38,0-1-44,0 1-47,-1 0-51,1 0-55,0-1-58,0 1-63,1 0-447,-1 0-116,1-1-355,0 2-91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8-12-04T12:27:00.144"/>
    </inkml:context>
    <inkml:brush xml:id="br0">
      <inkml:brushProperty name="width" value="0.025" units="cm"/>
      <inkml:brushProperty name="height" value="0.025" units="cm"/>
    </inkml:brush>
  </inkml:definitions>
  <inkml:trace contextRef="#ctx0" brushRef="#br0">10458 12598 6144,'0'-29'2368,"0"20"-1856,3 0 736,-3 9 224</inkml:trace>
  <inkml:trace contextRef="#ctx0" brushRef="#br0" timeOffset="31785.618">27714 14066 1536,'10'3'608,"-3"2"-480,0-7 32,-4 4 0,-1-2-96,5 0-64</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57D39D1-98A8-47EB-9544-325A3EE54945}" type="datetimeFigureOut">
              <a:rPr lang="da-DK" smtClean="0"/>
              <a:t>04-03-2019</a:t>
            </a:fld>
            <a:endParaRPr lang="da-D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4FDA04-3B2B-4C59-9D6F-D1B99655A3A9}" type="slidenum">
              <a:rPr lang="da-DK" smtClean="0"/>
              <a:t>‹#›</a:t>
            </a:fld>
            <a:endParaRPr lang="da-DK"/>
          </a:p>
        </p:txBody>
      </p:sp>
    </p:spTree>
    <p:extLst>
      <p:ext uri="{BB962C8B-B14F-4D97-AF65-F5344CB8AC3E}">
        <p14:creationId xmlns:p14="http://schemas.microsoft.com/office/powerpoint/2010/main" val="28791166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C6E106-7C58-4D2F-89B2-7991A9D4707C}"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2763340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aseline="0" dirty="0"/>
          </a:p>
        </p:txBody>
      </p:sp>
      <p:sp>
        <p:nvSpPr>
          <p:cNvPr id="4" name="Pladsholder til slidenumm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F895E8AC-AE64-4EEB-B001-5E80BD03615E}" type="slidenum">
              <a:rPr kumimoji="0" lang="da-DK"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15</a:t>
            </a:fld>
            <a:endParaRPr kumimoji="0" lang="da-DK"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55966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aseline="0" dirty="0"/>
          </a:p>
        </p:txBody>
      </p:sp>
      <p:sp>
        <p:nvSpPr>
          <p:cNvPr id="4" name="Pladsholder til slidenumm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F895E8AC-AE64-4EEB-B001-5E80BD03615E}" type="slidenum">
              <a:rPr kumimoji="0" lang="da-DK"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16</a:t>
            </a:fld>
            <a:endParaRPr kumimoji="0" lang="da-DK"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594384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aseline="0" dirty="0"/>
          </a:p>
        </p:txBody>
      </p:sp>
      <p:sp>
        <p:nvSpPr>
          <p:cNvPr id="4" name="Pladsholder til slidenumm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F895E8AC-AE64-4EEB-B001-5E80BD03615E}" type="slidenum">
              <a:rPr kumimoji="0" lang="da-DK"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17</a:t>
            </a:fld>
            <a:endParaRPr kumimoji="0" lang="da-DK"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149454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aseline="0" dirty="0"/>
          </a:p>
        </p:txBody>
      </p:sp>
      <p:sp>
        <p:nvSpPr>
          <p:cNvPr id="4" name="Pladsholder til slidenumm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F895E8AC-AE64-4EEB-B001-5E80BD03615E}" type="slidenum">
              <a:rPr kumimoji="0" lang="da-DK"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18</a:t>
            </a:fld>
            <a:endParaRPr kumimoji="0" lang="da-DK"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66104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aseline="0" dirty="0"/>
          </a:p>
        </p:txBody>
      </p:sp>
      <p:sp>
        <p:nvSpPr>
          <p:cNvPr id="4" name="Pladsholder til slidenumm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F895E8AC-AE64-4EEB-B001-5E80BD03615E}" type="slidenum">
              <a:rPr kumimoji="0" lang="da-DK"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19</a:t>
            </a:fld>
            <a:endParaRPr kumimoji="0" lang="da-DK"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392303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Det her er til inspiration.</a:t>
            </a:r>
          </a:p>
          <a:p>
            <a:r>
              <a:rPr lang="da-DK" dirty="0"/>
              <a:t>Det er for at gøre jeres liv nemmere</a:t>
            </a:r>
          </a:p>
          <a:p>
            <a:r>
              <a:rPr lang="da-DK" dirty="0"/>
              <a:t>Der er metodefrihed, men jeg vil gerne vise nogle gode eksempler</a:t>
            </a:r>
          </a:p>
          <a:p>
            <a:r>
              <a:rPr lang="da-DK" dirty="0"/>
              <a:t>Pointen er at vi skal få blod på tanden, ikke at blive eksperter i dag</a:t>
            </a:r>
          </a:p>
        </p:txBody>
      </p:sp>
      <p:sp>
        <p:nvSpPr>
          <p:cNvPr id="4" name="Slide Number Placeholder 3"/>
          <p:cNvSpPr>
            <a:spLocks noGrp="1"/>
          </p:cNvSpPr>
          <p:nvPr>
            <p:ph type="sldNum" sz="quarter" idx="10"/>
          </p:nvPr>
        </p:nvSpPr>
        <p:spPr/>
        <p:txBody>
          <a:bodyPr/>
          <a:lstStyle/>
          <a:p>
            <a:fld id="{634FDA04-3B2B-4C59-9D6F-D1B99655A3A9}" type="slidenum">
              <a:rPr lang="da-DK" smtClean="0"/>
              <a:t>20</a:t>
            </a:fld>
            <a:endParaRPr lang="da-DK"/>
          </a:p>
        </p:txBody>
      </p:sp>
    </p:spTree>
    <p:extLst>
      <p:ext uri="{BB962C8B-B14F-4D97-AF65-F5344CB8AC3E}">
        <p14:creationId xmlns:p14="http://schemas.microsoft.com/office/powerpoint/2010/main" val="38382694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Det her er til inspiration.</a:t>
            </a:r>
          </a:p>
          <a:p>
            <a:r>
              <a:rPr lang="da-DK" dirty="0"/>
              <a:t>Det er for at gøre jeres liv nemmere</a:t>
            </a:r>
          </a:p>
          <a:p>
            <a:r>
              <a:rPr lang="da-DK" dirty="0"/>
              <a:t>Der er metodefrihed, men jeg vil gerne vise nogle gode eksempler</a:t>
            </a:r>
          </a:p>
          <a:p>
            <a:r>
              <a:rPr lang="da-DK" dirty="0"/>
              <a:t>Pointen er at vi skal få blod på tanden, ikke at blive eksperter i dag</a:t>
            </a:r>
          </a:p>
        </p:txBody>
      </p:sp>
      <p:sp>
        <p:nvSpPr>
          <p:cNvPr id="4" name="Slide Number Placeholder 3"/>
          <p:cNvSpPr>
            <a:spLocks noGrp="1"/>
          </p:cNvSpPr>
          <p:nvPr>
            <p:ph type="sldNum" sz="quarter" idx="10"/>
          </p:nvPr>
        </p:nvSpPr>
        <p:spPr/>
        <p:txBody>
          <a:bodyPr/>
          <a:lstStyle/>
          <a:p>
            <a:fld id="{634FDA04-3B2B-4C59-9D6F-D1B99655A3A9}" type="slidenum">
              <a:rPr lang="da-DK" smtClean="0"/>
              <a:t>21</a:t>
            </a:fld>
            <a:endParaRPr lang="da-DK"/>
          </a:p>
        </p:txBody>
      </p:sp>
    </p:spTree>
    <p:extLst>
      <p:ext uri="{BB962C8B-B14F-4D97-AF65-F5344CB8AC3E}">
        <p14:creationId xmlns:p14="http://schemas.microsoft.com/office/powerpoint/2010/main" val="16601308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Det her er til inspiration.</a:t>
            </a:r>
          </a:p>
          <a:p>
            <a:r>
              <a:rPr lang="da-DK" dirty="0"/>
              <a:t>Det er for at gøre jeres liv nemmere</a:t>
            </a:r>
          </a:p>
          <a:p>
            <a:r>
              <a:rPr lang="da-DK" dirty="0"/>
              <a:t>Der er metodefrihed, men jeg vil gerne vise nogle gode eksempler</a:t>
            </a:r>
          </a:p>
          <a:p>
            <a:r>
              <a:rPr lang="da-DK" dirty="0"/>
              <a:t>Pointen er at vi skal få blod på tanden, ikke at blive eksperter i dag</a:t>
            </a:r>
          </a:p>
        </p:txBody>
      </p:sp>
      <p:sp>
        <p:nvSpPr>
          <p:cNvPr id="4" name="Slide Number Placeholder 3"/>
          <p:cNvSpPr>
            <a:spLocks noGrp="1"/>
          </p:cNvSpPr>
          <p:nvPr>
            <p:ph type="sldNum" sz="quarter" idx="10"/>
          </p:nvPr>
        </p:nvSpPr>
        <p:spPr/>
        <p:txBody>
          <a:bodyPr/>
          <a:lstStyle/>
          <a:p>
            <a:fld id="{634FDA04-3B2B-4C59-9D6F-D1B99655A3A9}" type="slidenum">
              <a:rPr lang="da-DK" smtClean="0"/>
              <a:t>22</a:t>
            </a:fld>
            <a:endParaRPr lang="da-DK"/>
          </a:p>
        </p:txBody>
      </p:sp>
    </p:spTree>
    <p:extLst>
      <p:ext uri="{BB962C8B-B14F-4D97-AF65-F5344CB8AC3E}">
        <p14:creationId xmlns:p14="http://schemas.microsoft.com/office/powerpoint/2010/main" val="33481351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634FDA04-3B2B-4C59-9D6F-D1B99655A3A9}" type="slidenum">
              <a:rPr lang="da-DK" smtClean="0"/>
              <a:t>23</a:t>
            </a:fld>
            <a:endParaRPr lang="da-DK"/>
          </a:p>
        </p:txBody>
      </p:sp>
    </p:spTree>
    <p:extLst>
      <p:ext uri="{BB962C8B-B14F-4D97-AF65-F5344CB8AC3E}">
        <p14:creationId xmlns:p14="http://schemas.microsoft.com/office/powerpoint/2010/main" val="20796646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baseline="0" dirty="0"/>
          </a:p>
        </p:txBody>
      </p:sp>
      <p:sp>
        <p:nvSpPr>
          <p:cNvPr id="4" name="Pladsholder til slidenumm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F895E8AC-AE64-4EEB-B001-5E80BD03615E}" type="slidenum">
              <a:rPr kumimoji="0" lang="da-DK"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2</a:t>
            </a:fld>
            <a:endParaRPr kumimoji="0" lang="da-DK"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475163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302E9E-A28D-4B29-B8F9-7E6ED2C175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80479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634FDA04-3B2B-4C59-9D6F-D1B99655A3A9}" type="slidenum">
              <a:rPr lang="da-DK" smtClean="0"/>
              <a:t>4</a:t>
            </a:fld>
            <a:endParaRPr lang="da-DK"/>
          </a:p>
        </p:txBody>
      </p:sp>
    </p:spTree>
    <p:extLst>
      <p:ext uri="{BB962C8B-B14F-4D97-AF65-F5344CB8AC3E}">
        <p14:creationId xmlns:p14="http://schemas.microsoft.com/office/powerpoint/2010/main" val="42347918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634FDA04-3B2B-4C59-9D6F-D1B99655A3A9}" type="slidenum">
              <a:rPr lang="da-DK" smtClean="0"/>
              <a:t>5</a:t>
            </a:fld>
            <a:endParaRPr lang="da-DK"/>
          </a:p>
        </p:txBody>
      </p:sp>
    </p:spTree>
    <p:extLst>
      <p:ext uri="{BB962C8B-B14F-4D97-AF65-F5344CB8AC3E}">
        <p14:creationId xmlns:p14="http://schemas.microsoft.com/office/powerpoint/2010/main" val="16647803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634FDA04-3B2B-4C59-9D6F-D1B99655A3A9}" type="slidenum">
              <a:rPr lang="da-DK" smtClean="0"/>
              <a:t>6</a:t>
            </a:fld>
            <a:endParaRPr lang="da-DK"/>
          </a:p>
        </p:txBody>
      </p:sp>
    </p:spTree>
    <p:extLst>
      <p:ext uri="{BB962C8B-B14F-4D97-AF65-F5344CB8AC3E}">
        <p14:creationId xmlns:p14="http://schemas.microsoft.com/office/powerpoint/2010/main" val="22616743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Det her er til inspiration.</a:t>
            </a:r>
          </a:p>
          <a:p>
            <a:r>
              <a:rPr lang="da-DK" dirty="0"/>
              <a:t>Det er for at gøre jeres liv nemmere</a:t>
            </a:r>
          </a:p>
          <a:p>
            <a:r>
              <a:rPr lang="da-DK" dirty="0"/>
              <a:t>Der er metodefrihed, men jeg vil gerne vise nogle gode eksempler</a:t>
            </a:r>
          </a:p>
          <a:p>
            <a:r>
              <a:rPr lang="da-DK" dirty="0"/>
              <a:t>Pointen er at vi skal få blod på tanden, ikke at blive eksperter i dag</a:t>
            </a:r>
          </a:p>
        </p:txBody>
      </p:sp>
      <p:sp>
        <p:nvSpPr>
          <p:cNvPr id="4" name="Slide Number Placeholder 3"/>
          <p:cNvSpPr>
            <a:spLocks noGrp="1"/>
          </p:cNvSpPr>
          <p:nvPr>
            <p:ph type="sldNum" sz="quarter" idx="10"/>
          </p:nvPr>
        </p:nvSpPr>
        <p:spPr/>
        <p:txBody>
          <a:bodyPr/>
          <a:lstStyle/>
          <a:p>
            <a:fld id="{634FDA04-3B2B-4C59-9D6F-D1B99655A3A9}" type="slidenum">
              <a:rPr lang="da-DK" smtClean="0"/>
              <a:t>7</a:t>
            </a:fld>
            <a:endParaRPr lang="da-DK"/>
          </a:p>
        </p:txBody>
      </p:sp>
    </p:spTree>
    <p:extLst>
      <p:ext uri="{BB962C8B-B14F-4D97-AF65-F5344CB8AC3E}">
        <p14:creationId xmlns:p14="http://schemas.microsoft.com/office/powerpoint/2010/main" val="24903580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DA327-BBE9-4628-BFBA-3BB1DE7E01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28870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DA327-BBE9-4628-BFBA-3BB1DE7E01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92563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0.emf"/><Relationship Id="rId4" Type="http://schemas.openxmlformats.org/officeDocument/2006/relationships/oleObject" Target="../embeddings/oleObject1.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jp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Edu Grade 3-5">
    <p:spTree>
      <p:nvGrpSpPr>
        <p:cNvPr id="1" name=""/>
        <p:cNvGrpSpPr/>
        <p:nvPr/>
      </p:nvGrpSpPr>
      <p:grpSpPr>
        <a:xfrm>
          <a:off x="0" y="0"/>
          <a:ext cx="0" cy="0"/>
          <a:chOff x="0" y="0"/>
          <a:chExt cx="0" cy="0"/>
        </a:xfrm>
      </p:grpSpPr>
      <p:sp>
        <p:nvSpPr>
          <p:cNvPr id="8" name="Rectangle 7"/>
          <p:cNvSpPr/>
          <p:nvPr userDrawn="1"/>
        </p:nvSpPr>
        <p:spPr>
          <a:xfrm>
            <a:off x="0" y="0"/>
            <a:ext cx="4004343" cy="68580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67807" y="6116477"/>
            <a:ext cx="1358520" cy="515207"/>
          </a:xfrm>
          <a:prstGeom prst="rect">
            <a:avLst/>
          </a:prstGeom>
        </p:spPr>
      </p:pic>
      <p:sp>
        <p:nvSpPr>
          <p:cNvPr id="2" name="Title 1"/>
          <p:cNvSpPr>
            <a:spLocks noGrp="1"/>
          </p:cNvSpPr>
          <p:nvPr>
            <p:ph type="title" hasCustomPrompt="1"/>
          </p:nvPr>
        </p:nvSpPr>
        <p:spPr>
          <a:xfrm>
            <a:off x="381293" y="365781"/>
            <a:ext cx="3406414" cy="3063219"/>
          </a:xfrm>
        </p:spPr>
        <p:txBody>
          <a:bodyPr wrap="square" tIns="0" bIns="0" anchor="ctr"/>
          <a:lstStyle>
            <a:lvl1pPr>
              <a:defRPr sz="3921">
                <a:gradFill>
                  <a:gsLst>
                    <a:gs pos="2917">
                      <a:schemeClr val="bg1"/>
                    </a:gs>
                    <a:gs pos="100000">
                      <a:schemeClr val="bg1">
                        <a:alpha val="99000"/>
                      </a:schemeClr>
                    </a:gs>
                  </a:gsLst>
                  <a:lin ang="5400000" scaled="0"/>
                </a:gradFill>
                <a:latin typeface="Segoe UI Semilight" panose="020B0402040204020203" pitchFamily="34" charset="0"/>
                <a:cs typeface="Segoe UI Semilight" panose="020B0402040204020203" pitchFamily="34" charset="0"/>
              </a:defRPr>
            </a:lvl1pPr>
          </a:lstStyle>
          <a:p>
            <a:r>
              <a:rPr lang="en-US"/>
              <a:t>Click to add presentation title</a:t>
            </a:r>
          </a:p>
        </p:txBody>
      </p:sp>
      <p:sp>
        <p:nvSpPr>
          <p:cNvPr id="5" name="Picture Placeholder 4"/>
          <p:cNvSpPr>
            <a:spLocks noGrp="1"/>
          </p:cNvSpPr>
          <p:nvPr>
            <p:ph type="pic" sz="quarter" idx="10"/>
          </p:nvPr>
        </p:nvSpPr>
        <p:spPr>
          <a:xfrm>
            <a:off x="4004343" y="0"/>
            <a:ext cx="8187657" cy="6858000"/>
          </a:xfrm>
          <a:blipFill>
            <a:blip r:embed="rId3"/>
            <a:srcRect/>
            <a:stretch>
              <a:fillRect/>
            </a:stretch>
          </a:blipFill>
        </p:spPr>
        <p:txBody>
          <a:bodyPr anchor="ctr"/>
          <a:lstStyle>
            <a:lvl1pPr algn="ctr">
              <a:defRPr>
                <a:solidFill>
                  <a:schemeClr val="bg1">
                    <a:alpha val="0"/>
                  </a:schemeClr>
                </a:solidFill>
              </a:defRPr>
            </a:lvl1pPr>
          </a:lstStyle>
          <a:p>
            <a:endParaRPr lang="en-US"/>
          </a:p>
        </p:txBody>
      </p:sp>
      <p:sp>
        <p:nvSpPr>
          <p:cNvPr id="16" name="Text Placeholder 15"/>
          <p:cNvSpPr>
            <a:spLocks noGrp="1"/>
          </p:cNvSpPr>
          <p:nvPr>
            <p:ph type="body" sz="quarter" idx="11" hasCustomPrompt="1"/>
          </p:nvPr>
        </p:nvSpPr>
        <p:spPr>
          <a:xfrm>
            <a:off x="381292" y="3429001"/>
            <a:ext cx="3406414" cy="2059267"/>
          </a:xfrm>
        </p:spPr>
        <p:txBody>
          <a:bodyPr tIns="0" bIns="0" anchor="ctr"/>
          <a:lstStyle>
            <a:lvl1pPr>
              <a:defRPr sz="1961">
                <a:gradFill>
                  <a:gsLst>
                    <a:gs pos="2917">
                      <a:schemeClr val="bg1"/>
                    </a:gs>
                    <a:gs pos="100000">
                      <a:schemeClr val="bg1">
                        <a:alpha val="99000"/>
                      </a:schemeClr>
                    </a:gs>
                  </a:gsLst>
                  <a:lin ang="5400000" scaled="0"/>
                </a:gradFill>
              </a:defRPr>
            </a:lvl1pPr>
            <a:lvl2pPr>
              <a:defRPr sz="1765">
                <a:gradFill>
                  <a:gsLst>
                    <a:gs pos="2917">
                      <a:schemeClr val="bg1"/>
                    </a:gs>
                    <a:gs pos="100000">
                      <a:schemeClr val="bg1">
                        <a:alpha val="99000"/>
                      </a:schemeClr>
                    </a:gs>
                  </a:gsLst>
                  <a:lin ang="5400000" scaled="0"/>
                </a:gradFill>
              </a:defRPr>
            </a:lvl2pPr>
            <a:lvl3pPr marL="3112" indent="0">
              <a:buNone/>
              <a:defRPr sz="1961">
                <a:gradFill>
                  <a:gsLst>
                    <a:gs pos="2917">
                      <a:schemeClr val="bg1"/>
                    </a:gs>
                    <a:gs pos="100000">
                      <a:schemeClr val="bg1">
                        <a:alpha val="99000"/>
                      </a:schemeClr>
                    </a:gs>
                  </a:gsLst>
                  <a:lin ang="5400000" scaled="0"/>
                </a:gradFill>
              </a:defRPr>
            </a:lvl3pPr>
            <a:lvl4pPr>
              <a:defRPr sz="1961">
                <a:gradFill>
                  <a:gsLst>
                    <a:gs pos="2917">
                      <a:schemeClr val="bg1"/>
                    </a:gs>
                    <a:gs pos="100000">
                      <a:schemeClr val="bg1">
                        <a:alpha val="99000"/>
                      </a:schemeClr>
                    </a:gs>
                  </a:gsLst>
                  <a:lin ang="5400000" scaled="0"/>
                </a:gradFill>
              </a:defRPr>
            </a:lvl4pPr>
            <a:lvl5pPr>
              <a:defRPr sz="1961">
                <a:gradFill>
                  <a:gsLst>
                    <a:gs pos="2917">
                      <a:schemeClr val="bg1"/>
                    </a:gs>
                    <a:gs pos="100000">
                      <a:schemeClr val="bg1">
                        <a:alpha val="99000"/>
                      </a:schemeClr>
                    </a:gs>
                  </a:gsLst>
                  <a:lin ang="5400000" scaled="0"/>
                </a:gradFill>
              </a:defRPr>
            </a:lvl5pPr>
          </a:lstStyle>
          <a:p>
            <a:pPr lvl="0"/>
            <a:r>
              <a:rPr lang="en-US"/>
              <a:t>Click to add byline</a:t>
            </a:r>
          </a:p>
          <a:p>
            <a:pPr lvl="1"/>
            <a:r>
              <a:rPr lang="en-US"/>
              <a:t>Second level</a:t>
            </a:r>
          </a:p>
        </p:txBody>
      </p:sp>
    </p:spTree>
    <p:extLst>
      <p:ext uri="{BB962C8B-B14F-4D97-AF65-F5344CB8AC3E}">
        <p14:creationId xmlns:p14="http://schemas.microsoft.com/office/powerpoint/2010/main" val="2131243471"/>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in1 Screen Capture 16:9">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1" y="1561185"/>
            <a:ext cx="7087807" cy="5020744"/>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0DFE761-B18C-4D1B-A925-C2F0254A0DE4}" type="datetime1">
              <a:rPr lang="en-US" smtClean="0"/>
              <a:t>3/4/2019</a:t>
            </a:fld>
            <a:endParaRPr lang="en-US"/>
          </a:p>
        </p:txBody>
      </p:sp>
      <p:sp>
        <p:nvSpPr>
          <p:cNvPr id="4" name="Footer Placeholder 3"/>
          <p:cNvSpPr>
            <a:spLocks noGrp="1"/>
          </p:cNvSpPr>
          <p:nvPr>
            <p:ph type="ftr" sz="quarter" idx="11"/>
          </p:nvPr>
        </p:nvSpPr>
        <p:spPr/>
        <p:txBody>
          <a:bodyPr/>
          <a:lstStyle/>
          <a:p>
            <a:r>
              <a:rPr lang="en-US"/>
              <a:t>MICROSOFT CONFIDENTIAL Pre-release simulated screenshot shown, final experience may differ</a:t>
            </a:r>
          </a:p>
        </p:txBody>
      </p:sp>
      <p:sp>
        <p:nvSpPr>
          <p:cNvPr id="5" name="Slide Number Placeholder 4"/>
          <p:cNvSpPr>
            <a:spLocks noGrp="1"/>
          </p:cNvSpPr>
          <p:nvPr>
            <p:ph type="sldNum" sz="quarter" idx="12"/>
          </p:nvPr>
        </p:nvSpPr>
        <p:spPr/>
        <p:txBody>
          <a:bodyPr/>
          <a:lstStyle/>
          <a:p>
            <a:fld id="{9373C030-8119-439B-A7A2-330B51F4C009}" type="slidenum">
              <a:rPr lang="en-US" smtClean="0"/>
              <a:pPr/>
              <a:t>‹#›</a:t>
            </a:fld>
            <a:endParaRPr lang="en-US"/>
          </a:p>
        </p:txBody>
      </p:sp>
      <p:sp>
        <p:nvSpPr>
          <p:cNvPr id="6" name="Content Placeholder 11"/>
          <p:cNvSpPr>
            <a:spLocks noGrp="1"/>
          </p:cNvSpPr>
          <p:nvPr>
            <p:ph sz="quarter" idx="13"/>
          </p:nvPr>
        </p:nvSpPr>
        <p:spPr>
          <a:xfrm>
            <a:off x="8187659" y="1561184"/>
            <a:ext cx="3623049" cy="4931036"/>
          </a:xfrm>
        </p:spPr>
        <p:txBody>
          <a:bodyPr/>
          <a:lstStyle>
            <a:lvl1pPr>
              <a:defRPr sz="1765"/>
            </a:lvl1pPr>
            <a:lvl2pPr>
              <a:defRPr sz="1568"/>
            </a:lvl2pPr>
            <a:lvl3pPr>
              <a:defRPr sz="1568"/>
            </a:lvl3pPr>
            <a:lvl4pPr>
              <a:defRPr sz="1568"/>
            </a:lvl4pPr>
            <a:lvl5pPr>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noChangeAspect="1"/>
          </p:cNvSpPr>
          <p:nvPr>
            <p:ph type="pic" sz="quarter" idx="14" hasCustomPrompt="1"/>
          </p:nvPr>
        </p:nvSpPr>
        <p:spPr>
          <a:xfrm>
            <a:off x="543323" y="1799216"/>
            <a:ext cx="5870161" cy="3298219"/>
          </a:xfrm>
          <a:solidFill>
            <a:srgbClr val="00172A"/>
          </a:solidFill>
        </p:spPr>
        <p:txBody>
          <a:bodyPr tIns="0" rIns="0" bIns="1097280" anchor="b"/>
          <a:lstStyle>
            <a:lvl1pPr algn="ctr">
              <a:defRPr sz="1765" baseline="0">
                <a:solidFill>
                  <a:srgbClr val="C00000"/>
                </a:solidFill>
              </a:defRPr>
            </a:lvl1pPr>
          </a:lstStyle>
          <a:p>
            <a:r>
              <a:rPr lang="en-US"/>
              <a:t>Paste full screen grab here (16:9 aspect ratio)</a:t>
            </a:r>
          </a:p>
        </p:txBody>
      </p:sp>
      <p:sp>
        <p:nvSpPr>
          <p:cNvPr id="10" name="Text Placeholder 2"/>
          <p:cNvSpPr>
            <a:spLocks noGrp="1"/>
          </p:cNvSpPr>
          <p:nvPr>
            <p:ph type="body" sz="quarter" idx="15"/>
          </p:nvPr>
        </p:nvSpPr>
        <p:spPr>
          <a:xfrm>
            <a:off x="381293" y="838962"/>
            <a:ext cx="3007457" cy="452654"/>
          </a:xfrm>
        </p:spPr>
        <p:txBody>
          <a:bodyPr wrap="none">
            <a:spAutoFit/>
          </a:bodyPr>
          <a:lstStyle>
            <a:lvl1pPr>
              <a:defRPr sz="2353">
                <a:gradFill>
                  <a:gsLst>
                    <a:gs pos="2917">
                      <a:schemeClr val="tx1">
                        <a:lumMod val="75000"/>
                      </a:schemeClr>
                    </a:gs>
                    <a:gs pos="100000">
                      <a:schemeClr val="tx1">
                        <a:lumMod val="75000"/>
                      </a:schemeClr>
                    </a:gs>
                  </a:gsLst>
                  <a:lin ang="5400000" scaled="0"/>
                </a:gradFill>
              </a:defRPr>
            </a:lvl1pPr>
          </a:lstStyle>
          <a:p>
            <a:pPr lvl="0"/>
            <a:r>
              <a:rPr lang="en-US"/>
              <a:t>Edit Master text styles</a:t>
            </a:r>
          </a:p>
        </p:txBody>
      </p:sp>
      <p:sp>
        <p:nvSpPr>
          <p:cNvPr id="11" name="Rectangle 10"/>
          <p:cNvSpPr/>
          <p:nvPr userDrawn="1"/>
        </p:nvSpPr>
        <p:spPr>
          <a:xfrm>
            <a:off x="6917412" y="4721841"/>
            <a:ext cx="231576" cy="1494253"/>
          </a:xfrm>
          <a:prstGeom prst="rect">
            <a:avLst/>
          </a:prstGeom>
          <a:gradFill flip="none" rotWithShape="1">
            <a:gsLst>
              <a:gs pos="2917">
                <a:schemeClr val="bg1">
                  <a:alpha val="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Tree>
    <p:extLst>
      <p:ext uri="{BB962C8B-B14F-4D97-AF65-F5344CB8AC3E}">
        <p14:creationId xmlns:p14="http://schemas.microsoft.com/office/powerpoint/2010/main" val="1060329094"/>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90828" y="6100346"/>
            <a:ext cx="2165148" cy="749808"/>
          </a:xfrm>
          <a:prstGeom prst="rect">
            <a:avLst/>
          </a:prstGeom>
        </p:spPr>
      </p:pic>
    </p:spTree>
    <p:extLst>
      <p:ext uri="{BB962C8B-B14F-4D97-AF65-F5344CB8AC3E}">
        <p14:creationId xmlns:p14="http://schemas.microsoft.com/office/powerpoint/2010/main" val="3456157600"/>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dirty="0"/>
              <a:t>Click to edit Master title style</a:t>
            </a:r>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90828" y="6100346"/>
            <a:ext cx="2165148" cy="749808"/>
          </a:xfrm>
          <a:prstGeom prst="rect">
            <a:avLst/>
          </a:prstGeom>
        </p:spPr>
      </p:pic>
    </p:spTree>
    <p:extLst>
      <p:ext uri="{BB962C8B-B14F-4D97-AF65-F5344CB8AC3E}">
        <p14:creationId xmlns:p14="http://schemas.microsoft.com/office/powerpoint/2010/main" val="2878872582"/>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6279563" y="1447801"/>
            <a:ext cx="5396365" cy="2351413"/>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dirty="0"/>
              <a:t>Click to edit Master text styles</a:t>
            </a:r>
          </a:p>
          <a:p>
            <a:pPr marL="520700" marR="0" lvl="1" indent="-228600" algn="l" defTabSz="914363" rtl="0" eaLnBrk="1" fontAlgn="auto" latinLnBrk="0" hangingPunct="1">
              <a:lnSpc>
                <a:spcPct val="90000"/>
              </a:lnSpc>
              <a:spcBef>
                <a:spcPct val="20000"/>
              </a:spcBef>
              <a:spcAft>
                <a:spcPts val="0"/>
              </a:spcAft>
              <a:buClrTx/>
              <a:buSzPct val="90000"/>
              <a:buFont typeface="Wingdings" pitchFamily="2" charset="2"/>
              <a:buChar char=""/>
              <a:tabLst/>
            </a:pPr>
            <a:r>
              <a:rPr lang="en-US" dirty="0"/>
              <a:t>Second level</a:t>
            </a:r>
          </a:p>
          <a:p>
            <a:pPr marL="685800" marR="0" lvl="2" indent="-165100" algn="l" defTabSz="914363" rtl="0" eaLnBrk="1" fontAlgn="auto" latinLnBrk="0" hangingPunct="1">
              <a:lnSpc>
                <a:spcPct val="90000"/>
              </a:lnSpc>
              <a:spcBef>
                <a:spcPct val="20000"/>
              </a:spcBef>
              <a:spcAft>
                <a:spcPts val="0"/>
              </a:spcAft>
              <a:buClrTx/>
              <a:buSzPct val="90000"/>
              <a:buFont typeface="Wingdings" pitchFamily="2" charset="2"/>
              <a:buChar char=""/>
              <a:tabLst/>
            </a:pPr>
            <a:r>
              <a:rPr lang="en-US" dirty="0"/>
              <a:t>Third level</a:t>
            </a:r>
          </a:p>
          <a:p>
            <a:pPr marL="863600" marR="0" lvl="3" indent="-177800" algn="l" defTabSz="914363" rtl="0" eaLnBrk="1" fontAlgn="auto" latinLnBrk="0" hangingPunct="1">
              <a:lnSpc>
                <a:spcPct val="90000"/>
              </a:lnSpc>
              <a:spcBef>
                <a:spcPct val="20000"/>
              </a:spcBef>
              <a:spcAft>
                <a:spcPts val="0"/>
              </a:spcAft>
              <a:buClrTx/>
              <a:buSzPct val="90000"/>
              <a:buFont typeface="Wingdings" pitchFamily="2" charset="2"/>
              <a:buChar char=""/>
              <a:tabLst/>
            </a:pPr>
            <a:r>
              <a:rPr lang="en-US" dirty="0"/>
              <a:t>Fourth level</a:t>
            </a:r>
          </a:p>
          <a:p>
            <a:pPr marL="1028700" marR="0" lvl="4" indent="-165100" algn="l" defTabSz="914363" rtl="0" eaLnBrk="1" fontAlgn="auto" latinLnBrk="0" hangingPunct="1">
              <a:lnSpc>
                <a:spcPct val="90000"/>
              </a:lnSpc>
              <a:spcBef>
                <a:spcPct val="20000"/>
              </a:spcBef>
              <a:spcAft>
                <a:spcPts val="0"/>
              </a:spcAft>
              <a:buClrTx/>
              <a:buSzPct val="90000"/>
              <a:buFont typeface="Wingdings" pitchFamily="2" charset="2"/>
              <a:buChar char=""/>
              <a:tabLst/>
            </a:pPr>
            <a:r>
              <a:rPr lang="en-US" dirty="0"/>
              <a:t>Fifth level</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90828" y="6100346"/>
            <a:ext cx="2165148" cy="749808"/>
          </a:xfrm>
          <a:prstGeom prst="rect">
            <a:avLst/>
          </a:prstGeom>
        </p:spPr>
      </p:pic>
    </p:spTree>
    <p:extLst>
      <p:ext uri="{BB962C8B-B14F-4D97-AF65-F5344CB8AC3E}">
        <p14:creationId xmlns:p14="http://schemas.microsoft.com/office/powerpoint/2010/main" val="3015053866"/>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dirty="0"/>
              <a:t>Click to edit Master text styles</a:t>
            </a:r>
          </a:p>
        </p:txBody>
      </p:sp>
      <p:sp>
        <p:nvSpPr>
          <p:cNvPr id="12" name="Title 11"/>
          <p:cNvSpPr>
            <a:spLocks noGrp="1"/>
          </p:cNvSpPr>
          <p:nvPr>
            <p:ph type="title"/>
          </p:nvPr>
        </p:nvSpPr>
        <p:spPr/>
        <p:txBody>
          <a:bodyPr>
            <a:noAutofit/>
          </a:bodyPr>
          <a:lstStyle>
            <a:lvl1pPr>
              <a:defRPr/>
            </a:lvl1pPr>
          </a:lstStyle>
          <a:p>
            <a:r>
              <a:rPr lang="en-US" dirty="0"/>
              <a:t>Click to edit Master title style</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90828" y="6100346"/>
            <a:ext cx="2165148" cy="749808"/>
          </a:xfrm>
          <a:prstGeom prst="rect">
            <a:avLst/>
          </a:prstGeom>
        </p:spPr>
      </p:pic>
    </p:spTree>
    <p:extLst>
      <p:ext uri="{BB962C8B-B14F-4D97-AF65-F5344CB8AC3E}">
        <p14:creationId xmlns:p14="http://schemas.microsoft.com/office/powerpoint/2010/main" val="2846573879"/>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dirty="0"/>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90828" y="6100346"/>
            <a:ext cx="2165148" cy="749808"/>
          </a:xfrm>
          <a:prstGeom prst="rect">
            <a:avLst/>
          </a:prstGeom>
        </p:spPr>
      </p:pic>
    </p:spTree>
    <p:extLst>
      <p:ext uri="{BB962C8B-B14F-4D97-AF65-F5344CB8AC3E}">
        <p14:creationId xmlns:p14="http://schemas.microsoft.com/office/powerpoint/2010/main" val="418147988"/>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dirty="0"/>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90828" y="6100346"/>
            <a:ext cx="2165148" cy="749808"/>
          </a:xfrm>
          <a:prstGeom prst="rect">
            <a:avLst/>
          </a:prstGeom>
        </p:spPr>
      </p:pic>
    </p:spTree>
    <p:extLst>
      <p:ext uri="{BB962C8B-B14F-4D97-AF65-F5344CB8AC3E}">
        <p14:creationId xmlns:p14="http://schemas.microsoft.com/office/powerpoint/2010/main" val="1736814884"/>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7" y="0"/>
            <a:ext cx="598802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dirty="0"/>
              <a:t>Click to edit Master text styles</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90828" y="6100346"/>
            <a:ext cx="2165148" cy="749808"/>
          </a:xfrm>
          <a:prstGeom prst="rect">
            <a:avLst/>
          </a:prstGeom>
        </p:spPr>
      </p:pic>
    </p:spTree>
    <p:extLst>
      <p:ext uri="{BB962C8B-B14F-4D97-AF65-F5344CB8AC3E}">
        <p14:creationId xmlns:p14="http://schemas.microsoft.com/office/powerpoint/2010/main" val="4183232458"/>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dirty="0"/>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90828" y="6100346"/>
            <a:ext cx="2165148" cy="749808"/>
          </a:xfrm>
          <a:prstGeom prst="rect">
            <a:avLst/>
          </a:prstGeom>
        </p:spPr>
      </p:pic>
    </p:spTree>
    <p:extLst>
      <p:ext uri="{BB962C8B-B14F-4D97-AF65-F5344CB8AC3E}">
        <p14:creationId xmlns:p14="http://schemas.microsoft.com/office/powerpoint/2010/main" val="1733261786"/>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dirty="0"/>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96085" y="6102166"/>
            <a:ext cx="2159890" cy="747988"/>
          </a:xfrm>
          <a:prstGeom prst="rect">
            <a:avLst/>
          </a:prstGeom>
        </p:spPr>
      </p:pic>
    </p:spTree>
    <p:extLst>
      <p:ext uri="{BB962C8B-B14F-4D97-AF65-F5344CB8AC3E}">
        <p14:creationId xmlns:p14="http://schemas.microsoft.com/office/powerpoint/2010/main" val="2932053905"/>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57250"/>
            <a:ext cx="12192000"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90828" y="6100346"/>
            <a:ext cx="2165148" cy="749808"/>
          </a:xfrm>
          <a:prstGeom prst="rect">
            <a:avLst/>
          </a:prstGeom>
        </p:spPr>
      </p:pic>
    </p:spTree>
    <p:extLst>
      <p:ext uri="{BB962C8B-B14F-4D97-AF65-F5344CB8AC3E}">
        <p14:creationId xmlns:p14="http://schemas.microsoft.com/office/powerpoint/2010/main" val="3329965085"/>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P4 Screen Capture 3:2 A">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stretch>
            <a:fillRect/>
          </a:stretch>
        </p:blipFill>
        <p:spPr>
          <a:xfrm>
            <a:off x="1" y="1404599"/>
            <a:ext cx="7693114" cy="5087621"/>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5EBFE4D-E18D-4896-B0FF-148BCF3E8538}" type="datetime1">
              <a:rPr lang="en-US" smtClean="0"/>
              <a:t>3/4/2019</a:t>
            </a:fld>
            <a:endParaRPr lang="en-US"/>
          </a:p>
        </p:txBody>
      </p:sp>
      <p:sp>
        <p:nvSpPr>
          <p:cNvPr id="4" name="Footer Placeholder 3"/>
          <p:cNvSpPr>
            <a:spLocks noGrp="1"/>
          </p:cNvSpPr>
          <p:nvPr>
            <p:ph type="ftr" sz="quarter" idx="11"/>
          </p:nvPr>
        </p:nvSpPr>
        <p:spPr/>
        <p:txBody>
          <a:bodyPr/>
          <a:lstStyle/>
          <a:p>
            <a:r>
              <a:rPr lang="en-US"/>
              <a:t>MICROSOFT CONFIDENTIAL Pre-release simulated screenshot shown, final experience may differ</a:t>
            </a:r>
          </a:p>
        </p:txBody>
      </p:sp>
      <p:sp>
        <p:nvSpPr>
          <p:cNvPr id="5" name="Slide Number Placeholder 4"/>
          <p:cNvSpPr>
            <a:spLocks noGrp="1"/>
          </p:cNvSpPr>
          <p:nvPr>
            <p:ph type="sldNum" sz="quarter" idx="12"/>
          </p:nvPr>
        </p:nvSpPr>
        <p:spPr/>
        <p:txBody>
          <a:bodyPr/>
          <a:lstStyle/>
          <a:p>
            <a:fld id="{9373C030-8119-439B-A7A2-330B51F4C009}" type="slidenum">
              <a:rPr lang="en-US" smtClean="0"/>
              <a:pPr/>
              <a:t>‹#›</a:t>
            </a:fld>
            <a:endParaRPr lang="en-US"/>
          </a:p>
        </p:txBody>
      </p:sp>
      <p:sp>
        <p:nvSpPr>
          <p:cNvPr id="6" name="Content Placeholder 11"/>
          <p:cNvSpPr>
            <a:spLocks noGrp="1"/>
          </p:cNvSpPr>
          <p:nvPr>
            <p:ph sz="quarter" idx="13"/>
          </p:nvPr>
        </p:nvSpPr>
        <p:spPr>
          <a:xfrm>
            <a:off x="8187659" y="1561184"/>
            <a:ext cx="3623049" cy="4931036"/>
          </a:xfrm>
        </p:spPr>
        <p:txBody>
          <a:bodyPr/>
          <a:lstStyle>
            <a:lvl1pPr>
              <a:defRPr sz="1765"/>
            </a:lvl1pPr>
            <a:lvl2pPr>
              <a:defRPr sz="1568"/>
            </a:lvl2pPr>
            <a:lvl3pPr>
              <a:defRPr sz="1568"/>
            </a:lvl3pPr>
            <a:lvl4pPr>
              <a:defRPr sz="1568"/>
            </a:lvl4pPr>
            <a:lvl5pPr>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8"/>
          <p:cNvSpPr>
            <a:spLocks noGrp="1" noChangeAspect="1"/>
          </p:cNvSpPr>
          <p:nvPr>
            <p:ph type="pic" sz="quarter" idx="14" hasCustomPrompt="1"/>
          </p:nvPr>
        </p:nvSpPr>
        <p:spPr>
          <a:xfrm>
            <a:off x="838085" y="1897364"/>
            <a:ext cx="6161498" cy="4108248"/>
          </a:xfrm>
          <a:solidFill>
            <a:srgbClr val="00172A"/>
          </a:solidFill>
        </p:spPr>
        <p:txBody>
          <a:bodyPr tIns="0" rIns="0" bIns="1097280" anchor="b"/>
          <a:lstStyle>
            <a:lvl1pPr algn="ctr">
              <a:defRPr sz="1765" baseline="0">
                <a:solidFill>
                  <a:srgbClr val="C00000"/>
                </a:solidFill>
              </a:defRPr>
            </a:lvl1pPr>
          </a:lstStyle>
          <a:p>
            <a:r>
              <a:rPr lang="en-US"/>
              <a:t>Paste full screen grab here (3:2 aspect ratio)</a:t>
            </a:r>
          </a:p>
        </p:txBody>
      </p:sp>
      <p:sp>
        <p:nvSpPr>
          <p:cNvPr id="12" name="Text Placeholder 2"/>
          <p:cNvSpPr>
            <a:spLocks noGrp="1"/>
          </p:cNvSpPr>
          <p:nvPr>
            <p:ph type="body" sz="quarter" idx="15"/>
          </p:nvPr>
        </p:nvSpPr>
        <p:spPr>
          <a:xfrm>
            <a:off x="381293" y="838962"/>
            <a:ext cx="3007457" cy="452654"/>
          </a:xfrm>
        </p:spPr>
        <p:txBody>
          <a:bodyPr wrap="none">
            <a:spAutoFit/>
          </a:bodyPr>
          <a:lstStyle>
            <a:lvl1pPr>
              <a:defRPr sz="2353">
                <a:gradFill>
                  <a:gsLst>
                    <a:gs pos="2917">
                      <a:schemeClr val="tx1">
                        <a:lumMod val="75000"/>
                      </a:schemeClr>
                    </a:gs>
                    <a:gs pos="100000">
                      <a:schemeClr val="tx1">
                        <a:lumMod val="75000"/>
                      </a:schemeClr>
                    </a:gs>
                  </a:gsLst>
                  <a:lin ang="5400000" scaled="0"/>
                </a:gradFill>
              </a:defRPr>
            </a:lvl1pPr>
          </a:lstStyle>
          <a:p>
            <a:pPr lvl="0"/>
            <a:r>
              <a:rPr lang="en-US"/>
              <a:t>Edit Master text styles</a:t>
            </a:r>
          </a:p>
        </p:txBody>
      </p:sp>
    </p:spTree>
    <p:extLst>
      <p:ext uri="{BB962C8B-B14F-4D97-AF65-F5344CB8AC3E}">
        <p14:creationId xmlns:p14="http://schemas.microsoft.com/office/powerpoint/2010/main" val="23230743"/>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90828" y="6100346"/>
            <a:ext cx="2165148" cy="749808"/>
          </a:xfrm>
          <a:prstGeom prst="rect">
            <a:avLst/>
          </a:prstGeom>
        </p:spPr>
      </p:pic>
    </p:spTree>
    <p:extLst>
      <p:ext uri="{BB962C8B-B14F-4D97-AF65-F5344CB8AC3E}">
        <p14:creationId xmlns:p14="http://schemas.microsoft.com/office/powerpoint/2010/main" val="1935763978"/>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0917489"/>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29865848"/>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282579355"/>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
  <p:cSld name="Titelslide">
    <p:spTree>
      <p:nvGrpSpPr>
        <p:cNvPr id="1" name=""/>
        <p:cNvGrpSpPr/>
        <p:nvPr/>
      </p:nvGrpSpPr>
      <p:grpSpPr>
        <a:xfrm>
          <a:off x="0" y="0"/>
          <a:ext cx="0" cy="0"/>
          <a:chOff x="0" y="0"/>
          <a:chExt cx="0" cy="0"/>
        </a:xfrm>
      </p:grpSpPr>
      <p:sp>
        <p:nvSpPr>
          <p:cNvPr id="2" name="Titel 1"/>
          <p:cNvSpPr>
            <a:spLocks noGrp="1"/>
          </p:cNvSpPr>
          <p:nvPr>
            <p:ph type="ctrTitle"/>
          </p:nvPr>
        </p:nvSpPr>
        <p:spPr>
          <a:xfrm>
            <a:off x="1524001" y="1122363"/>
            <a:ext cx="9144000" cy="2387600"/>
          </a:xfrm>
        </p:spPr>
        <p:txBody>
          <a:bodyPr anchor="b"/>
          <a:lstStyle>
            <a:lvl1pPr algn="ctr">
              <a:defRPr sz="5998"/>
            </a:lvl1pPr>
          </a:lstStyle>
          <a:p>
            <a:r>
              <a:rPr lang="da-DK"/>
              <a:t>Klik for at redigere i master</a:t>
            </a:r>
          </a:p>
        </p:txBody>
      </p:sp>
      <p:sp>
        <p:nvSpPr>
          <p:cNvPr id="3" name="Undertitel 2"/>
          <p:cNvSpPr>
            <a:spLocks noGrp="1"/>
          </p:cNvSpPr>
          <p:nvPr>
            <p:ph type="subTitle" idx="1"/>
          </p:nvPr>
        </p:nvSpPr>
        <p:spPr>
          <a:xfrm>
            <a:off x="1524001" y="3602038"/>
            <a:ext cx="9144000"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da-DK"/>
              <a:t>Klik for at redigere i master</a:t>
            </a:r>
          </a:p>
        </p:txBody>
      </p:sp>
      <p:sp>
        <p:nvSpPr>
          <p:cNvPr id="4" name="Pladsholder til dato 3"/>
          <p:cNvSpPr>
            <a:spLocks noGrp="1"/>
          </p:cNvSpPr>
          <p:nvPr>
            <p:ph type="dt" sz="half" idx="10"/>
          </p:nvPr>
        </p:nvSpPr>
        <p:spPr/>
        <p:txBody>
          <a:bodyPr/>
          <a:lstStyle/>
          <a:p>
            <a:fld id="{6AA0CA4F-1931-48AA-B757-CC359F4915F3}" type="datetimeFigureOut">
              <a:rPr lang="da-DK" smtClean="0"/>
              <a:t>04-03-2019</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1824251B-A780-422A-9767-6BCB694C3470}" type="slidenum">
              <a:rPr lang="da-DK" smtClean="0"/>
              <a:t>‹#›</a:t>
            </a:fld>
            <a:endParaRPr lang="da-DK"/>
          </a:p>
        </p:txBody>
      </p:sp>
    </p:spTree>
    <p:extLst>
      <p:ext uri="{BB962C8B-B14F-4D97-AF65-F5344CB8AC3E}">
        <p14:creationId xmlns:p14="http://schemas.microsoft.com/office/powerpoint/2010/main" val="299284522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198"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616988" y="4873976"/>
            <a:ext cx="4363274" cy="2046779"/>
          </a:xfrm>
          <a:prstGeom prst="rect">
            <a:avLst/>
          </a:prstGeom>
        </p:spPr>
      </p:pic>
    </p:spTree>
    <p:extLst>
      <p:ext uri="{BB962C8B-B14F-4D97-AF65-F5344CB8AC3E}">
        <p14:creationId xmlns:p14="http://schemas.microsoft.com/office/powerpoint/2010/main" val="3029934302"/>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9" y="2819606"/>
            <a:ext cx="11151917" cy="1218795"/>
          </a:xfrm>
        </p:spPr>
        <p:txBody>
          <a:bodyPr anchor="b" anchorCtr="0"/>
          <a:lstStyle>
            <a:lvl1pPr>
              <a:defRPr sz="8797" spc="-300" baseline="0">
                <a:gradFill>
                  <a:gsLst>
                    <a:gs pos="100000">
                      <a:schemeClr val="bg1"/>
                    </a:gs>
                    <a:gs pos="0">
                      <a:schemeClr val="bg1"/>
                    </a:gs>
                  </a:gsLst>
                  <a:lin ang="5400000" scaled="0"/>
                </a:gradFill>
              </a:defRPr>
            </a:lvl1pPr>
          </a:lstStyle>
          <a:p>
            <a:r>
              <a:rPr lang="en-US" dirty="0"/>
              <a:t>Click to edit title style</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195967" y="6014916"/>
            <a:ext cx="1739313" cy="815899"/>
          </a:xfrm>
          <a:prstGeom prst="rect">
            <a:avLst/>
          </a:prstGeom>
        </p:spPr>
      </p:pic>
    </p:spTree>
    <p:extLst>
      <p:ext uri="{BB962C8B-B14F-4D97-AF65-F5344CB8AC3E}">
        <p14:creationId xmlns:p14="http://schemas.microsoft.com/office/powerpoint/2010/main" val="526874281"/>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3"/>
            <a:ext cx="10240453" cy="461665"/>
          </a:xfrm>
        </p:spPr>
        <p:txBody>
          <a:bodyPr>
            <a:noAutofit/>
          </a:bodyPr>
          <a:lstStyle>
            <a:lvl1pPr marL="0" indent="0" algn="l">
              <a:lnSpc>
                <a:spcPct val="90000"/>
              </a:lnSpc>
              <a:spcBef>
                <a:spcPts val="0"/>
              </a:spcBef>
              <a:buNone/>
              <a:defRPr lang="en-US" sz="3599" kern="1200" spc="-70" baseline="0" dirty="0">
                <a:gradFill>
                  <a:gsLst>
                    <a:gs pos="2083">
                      <a:schemeClr val="bg2"/>
                    </a:gs>
                    <a:gs pos="99000">
                      <a:schemeClr val="bg2"/>
                    </a:gs>
                  </a:gsLst>
                  <a:lin ang="5400000" scaled="0"/>
                </a:gradFill>
                <a:latin typeface="+mj-lt"/>
                <a:ea typeface="+mn-ea"/>
                <a:cs typeface="+mn-cs"/>
              </a:defRPr>
            </a:lvl1pPr>
            <a:lvl2pPr marL="457045" indent="0" algn="ctr">
              <a:buNone/>
              <a:defRPr>
                <a:solidFill>
                  <a:schemeClr val="tx1">
                    <a:tint val="75000"/>
                  </a:schemeClr>
                </a:solidFill>
              </a:defRPr>
            </a:lvl2pPr>
            <a:lvl3pPr marL="914089" indent="0" algn="ctr">
              <a:buNone/>
              <a:defRPr>
                <a:solidFill>
                  <a:schemeClr val="tx1">
                    <a:tint val="75000"/>
                  </a:schemeClr>
                </a:solidFill>
              </a:defRPr>
            </a:lvl3pPr>
            <a:lvl4pPr marL="1371134" indent="0" algn="ctr">
              <a:buNone/>
              <a:defRPr>
                <a:solidFill>
                  <a:schemeClr val="tx1">
                    <a:tint val="75000"/>
                  </a:schemeClr>
                </a:solidFill>
              </a:defRPr>
            </a:lvl4pPr>
            <a:lvl5pPr marL="1828178" indent="0" algn="ctr">
              <a:buNone/>
              <a:defRPr>
                <a:solidFill>
                  <a:schemeClr val="tx1">
                    <a:tint val="75000"/>
                  </a:schemeClr>
                </a:solidFill>
              </a:defRPr>
            </a:lvl5pPr>
            <a:lvl6pPr marL="2285223" indent="0" algn="ctr">
              <a:buNone/>
              <a:defRPr>
                <a:solidFill>
                  <a:schemeClr val="tx1">
                    <a:tint val="75000"/>
                  </a:schemeClr>
                </a:solidFill>
              </a:defRPr>
            </a:lvl6pPr>
            <a:lvl7pPr marL="2742267" indent="0" algn="ctr">
              <a:buNone/>
              <a:defRPr>
                <a:solidFill>
                  <a:schemeClr val="tx1">
                    <a:tint val="75000"/>
                  </a:schemeClr>
                </a:solidFill>
              </a:defRPr>
            </a:lvl7pPr>
            <a:lvl8pPr marL="3199312" indent="0" algn="ctr">
              <a:buNone/>
              <a:defRPr>
                <a:solidFill>
                  <a:schemeClr val="tx1">
                    <a:tint val="75000"/>
                  </a:schemeClr>
                </a:solidFill>
              </a:defRPr>
            </a:lvl8pPr>
            <a:lvl9pPr marL="3656357" indent="0" algn="ctr">
              <a:buNone/>
              <a:defRPr>
                <a:solidFill>
                  <a:schemeClr val="tx1">
                    <a:tint val="75000"/>
                  </a:schemeClr>
                </a:solidFill>
              </a:defRPr>
            </a:lvl9pPr>
          </a:lstStyle>
          <a:p>
            <a:pPr marL="0" marR="0" lvl="0" indent="0" algn="l" defTabSz="914089" rtl="0" eaLnBrk="1" fontAlgn="auto" latinLnBrk="0" hangingPunct="1">
              <a:lnSpc>
                <a:spcPct val="90000"/>
              </a:lnSpc>
              <a:spcBef>
                <a:spcPts val="0"/>
              </a:spcBef>
              <a:spcAft>
                <a:spcPts val="0"/>
              </a:spcAft>
              <a:buClrTx/>
              <a:buSzPct val="90000"/>
              <a:buFont typeface="Arial" pitchFamily="34" charset="0"/>
              <a:buNone/>
              <a:tabLst/>
            </a:pPr>
            <a:r>
              <a:rPr lang="en-US" dirty="0"/>
              <a:t>Click to edit Master subtitle style</a:t>
            </a:r>
          </a:p>
        </p:txBody>
      </p:sp>
      <p:sp>
        <p:nvSpPr>
          <p:cNvPr id="7" name="Text Placeholder 6"/>
          <p:cNvSpPr>
            <a:spLocks noGrp="1"/>
          </p:cNvSpPr>
          <p:nvPr>
            <p:ph type="body" sz="quarter" idx="10" hasCustomPrompt="1"/>
          </p:nvPr>
        </p:nvSpPr>
        <p:spPr>
          <a:xfrm>
            <a:off x="973393"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7"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3" y="1447800"/>
            <a:ext cx="10240454" cy="914096"/>
          </a:xfrm>
        </p:spPr>
        <p:txBody>
          <a:bodyPr wrap="square" anchor="b">
            <a:noAutofit/>
          </a:bodyPr>
          <a:lstStyle>
            <a:lvl1pPr marL="0" indent="0">
              <a:buNone/>
              <a:defRPr sz="6598" spc="-150"/>
            </a:lvl1pPr>
          </a:lstStyle>
          <a:p>
            <a:pPr lvl="0"/>
            <a:r>
              <a:rPr lang="en-US" dirty="0"/>
              <a:t>Click to edit Master text styles</a:t>
            </a:r>
          </a:p>
        </p:txBody>
      </p:sp>
    </p:spTree>
    <p:extLst>
      <p:ext uri="{BB962C8B-B14F-4D97-AF65-F5344CB8AC3E}">
        <p14:creationId xmlns:p14="http://schemas.microsoft.com/office/powerpoint/2010/main" val="1662585427"/>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1975926"/>
          </a:xfrm>
          <a:prstGeom prst="rect">
            <a:avLst/>
          </a:prstGeom>
        </p:spPr>
        <p:txBody>
          <a:bodyPr/>
          <a:lstStyle>
            <a:lvl1pPr marL="0" indent="0">
              <a:spcBef>
                <a:spcPts val="2399"/>
              </a:spcBef>
              <a:buNone/>
              <a:defRPr sz="3999">
                <a:gradFill>
                  <a:gsLst>
                    <a:gs pos="100000">
                      <a:schemeClr val="tx2"/>
                    </a:gs>
                    <a:gs pos="0">
                      <a:schemeClr val="tx2"/>
                    </a:gs>
                  </a:gsLst>
                  <a:lin ang="5400000" scaled="0"/>
                </a:gradFill>
                <a:latin typeface="+mj-lt"/>
              </a:defRPr>
            </a:lvl1pPr>
            <a:lvl2pPr marL="0" indent="0">
              <a:buNone/>
              <a:defRPr sz="1999">
                <a:gradFill>
                  <a:gsLst>
                    <a:gs pos="100000">
                      <a:schemeClr val="bg2"/>
                    </a:gs>
                    <a:gs pos="6000">
                      <a:schemeClr val="bg2"/>
                    </a:gs>
                  </a:gsLst>
                  <a:lin ang="5400000" scaled="0"/>
                </a:gradFill>
              </a:defRPr>
            </a:lvl2pPr>
            <a:lvl3pPr marL="231705" indent="0">
              <a:buNone/>
              <a:defRPr sz="1999">
                <a:gradFill>
                  <a:gsLst>
                    <a:gs pos="100000">
                      <a:schemeClr val="bg2"/>
                    </a:gs>
                    <a:gs pos="6000">
                      <a:schemeClr val="bg2"/>
                    </a:gs>
                  </a:gsLst>
                  <a:lin ang="5400000" scaled="0"/>
                </a:gradFill>
              </a:defRPr>
            </a:lvl3pPr>
            <a:lvl4pPr marL="457063" indent="0">
              <a:buNone/>
              <a:defRPr sz="1999">
                <a:gradFill>
                  <a:gsLst>
                    <a:gs pos="100000">
                      <a:schemeClr val="bg2"/>
                    </a:gs>
                    <a:gs pos="6000">
                      <a:schemeClr val="bg2"/>
                    </a:gs>
                  </a:gsLst>
                  <a:lin ang="5400000" scaled="0"/>
                </a:gradFill>
              </a:defRPr>
            </a:lvl4pPr>
            <a:lvl5pPr marL="693530" indent="0">
              <a:buNone/>
              <a:defRPr sz="1999">
                <a:gradFill>
                  <a:gsLst>
                    <a:gs pos="100000">
                      <a:schemeClr val="bg2"/>
                    </a:gs>
                    <a:gs pos="6000">
                      <a:schemeClr val="bg2"/>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dirty="0"/>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gradFill>
                  <a:gsLst>
                    <a:gs pos="100000">
                      <a:srgbClr val="797A7D"/>
                    </a:gs>
                    <a:gs pos="0">
                      <a:srgbClr val="797A7D"/>
                    </a:gs>
                  </a:gsLst>
                  <a:lin ang="5400000" scaled="0"/>
                </a:gradFill>
              </a:rPr>
              <a:pPr/>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182915" y="6021143"/>
            <a:ext cx="1763728" cy="813816"/>
          </a:xfrm>
          <a:prstGeom prst="rect">
            <a:avLst/>
          </a:prstGeom>
        </p:spPr>
      </p:pic>
    </p:spTree>
    <p:extLst>
      <p:ext uri="{BB962C8B-B14F-4D97-AF65-F5344CB8AC3E}">
        <p14:creationId xmlns:p14="http://schemas.microsoft.com/office/powerpoint/2010/main" val="2847002295"/>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9" y="1447799"/>
            <a:ext cx="11151917" cy="1975926"/>
          </a:xfrm>
          <a:prstGeom prst="rect">
            <a:avLst/>
          </a:prstGeom>
        </p:spPr>
        <p:txBody>
          <a:bodyPr/>
          <a:lstStyle>
            <a:lvl1pPr marL="0" indent="0">
              <a:spcBef>
                <a:spcPts val="2399"/>
              </a:spcBef>
              <a:buNone/>
              <a:defRPr sz="3999">
                <a:gradFill>
                  <a:gsLst>
                    <a:gs pos="100000">
                      <a:schemeClr val="bg2"/>
                    </a:gs>
                    <a:gs pos="0">
                      <a:schemeClr val="bg2"/>
                    </a:gs>
                  </a:gsLst>
                  <a:lin ang="5400000" scaled="0"/>
                </a:gradFill>
                <a:latin typeface="+mj-lt"/>
              </a:defRPr>
            </a:lvl1pPr>
            <a:lvl2pPr marL="0" indent="0">
              <a:buNone/>
              <a:defRPr sz="1999">
                <a:gradFill>
                  <a:gsLst>
                    <a:gs pos="100000">
                      <a:schemeClr val="bg2"/>
                    </a:gs>
                    <a:gs pos="0">
                      <a:schemeClr val="bg2"/>
                    </a:gs>
                  </a:gsLst>
                  <a:lin ang="5400000" scaled="0"/>
                </a:gradFill>
              </a:defRPr>
            </a:lvl2pPr>
            <a:lvl3pPr marL="231705" indent="0">
              <a:buNone/>
              <a:defRPr sz="1999">
                <a:gradFill>
                  <a:gsLst>
                    <a:gs pos="100000">
                      <a:schemeClr val="bg2"/>
                    </a:gs>
                    <a:gs pos="0">
                      <a:schemeClr val="bg2"/>
                    </a:gs>
                  </a:gsLst>
                  <a:lin ang="5400000" scaled="0"/>
                </a:gradFill>
              </a:defRPr>
            </a:lvl3pPr>
            <a:lvl4pPr marL="457063" indent="0">
              <a:buNone/>
              <a:defRPr sz="1999">
                <a:gradFill>
                  <a:gsLst>
                    <a:gs pos="100000">
                      <a:schemeClr val="bg2"/>
                    </a:gs>
                    <a:gs pos="0">
                      <a:schemeClr val="bg2"/>
                    </a:gs>
                  </a:gsLst>
                  <a:lin ang="5400000" scaled="0"/>
                </a:gradFill>
              </a:defRPr>
            </a:lvl4pPr>
            <a:lvl5pPr marL="693530" indent="0">
              <a:buNone/>
              <a:defRPr sz="1999">
                <a:gradFill>
                  <a:gsLst>
                    <a:gs pos="100000">
                      <a:schemeClr val="bg2"/>
                    </a:gs>
                    <a:gs pos="0">
                      <a:schemeClr val="bg2"/>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dirty="0"/>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gradFill>
                  <a:gsLst>
                    <a:gs pos="100000">
                      <a:srgbClr val="797A7D"/>
                    </a:gs>
                    <a:gs pos="0">
                      <a:srgbClr val="797A7D"/>
                    </a:gs>
                  </a:gsLst>
                  <a:lin ang="5400000" scaled="0"/>
                </a:gradFill>
              </a:rPr>
              <a:pPr/>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182915" y="6021143"/>
            <a:ext cx="1763728" cy="813816"/>
          </a:xfrm>
          <a:prstGeom prst="rect">
            <a:avLst/>
          </a:prstGeom>
        </p:spPr>
      </p:pic>
    </p:spTree>
    <p:extLst>
      <p:ext uri="{BB962C8B-B14F-4D97-AF65-F5344CB8AC3E}">
        <p14:creationId xmlns:p14="http://schemas.microsoft.com/office/powerpoint/2010/main" val="609492717"/>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P4 Screen Capture 3:2 B">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stretch>
            <a:fillRect/>
          </a:stretch>
        </p:blipFill>
        <p:spPr>
          <a:xfrm>
            <a:off x="4302066" y="1304107"/>
            <a:ext cx="7886110" cy="5546734"/>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B622C6B-E438-4AC4-B7CD-28E5679013B5}" type="datetime1">
              <a:rPr lang="en-US" smtClean="0"/>
              <a:t>3/4/2019</a:t>
            </a:fld>
            <a:endParaRPr lang="en-US"/>
          </a:p>
        </p:txBody>
      </p:sp>
      <p:sp>
        <p:nvSpPr>
          <p:cNvPr id="4" name="Footer Placeholder 3"/>
          <p:cNvSpPr>
            <a:spLocks noGrp="1"/>
          </p:cNvSpPr>
          <p:nvPr>
            <p:ph type="ftr" sz="quarter" idx="11"/>
          </p:nvPr>
        </p:nvSpPr>
        <p:spPr>
          <a:xfrm>
            <a:off x="381293" y="6492220"/>
            <a:ext cx="4078138" cy="358621"/>
          </a:xfrm>
        </p:spPr>
        <p:txBody>
          <a:bodyPr/>
          <a:lstStyle/>
          <a:p>
            <a:r>
              <a:rPr lang="en-US"/>
              <a:t>MICROSOFT CONFIDENTIAL Pre-release simulated screenshot shown, final experience may differ</a:t>
            </a:r>
          </a:p>
        </p:txBody>
      </p:sp>
      <p:sp>
        <p:nvSpPr>
          <p:cNvPr id="5" name="Slide Number Placeholder 4"/>
          <p:cNvSpPr>
            <a:spLocks noGrp="1"/>
          </p:cNvSpPr>
          <p:nvPr>
            <p:ph type="sldNum" sz="quarter" idx="12"/>
          </p:nvPr>
        </p:nvSpPr>
        <p:spPr/>
        <p:txBody>
          <a:bodyPr/>
          <a:lstStyle/>
          <a:p>
            <a:fld id="{9373C030-8119-439B-A7A2-330B51F4C009}" type="slidenum">
              <a:rPr lang="en-US" smtClean="0"/>
              <a:pPr/>
              <a:t>‹#›</a:t>
            </a:fld>
            <a:endParaRPr lang="en-US"/>
          </a:p>
        </p:txBody>
      </p:sp>
      <p:sp>
        <p:nvSpPr>
          <p:cNvPr id="6" name="Content Placeholder 11"/>
          <p:cNvSpPr>
            <a:spLocks noGrp="1"/>
          </p:cNvSpPr>
          <p:nvPr>
            <p:ph sz="quarter" idx="13"/>
          </p:nvPr>
        </p:nvSpPr>
        <p:spPr>
          <a:xfrm>
            <a:off x="381293" y="1561184"/>
            <a:ext cx="3623049" cy="4931036"/>
          </a:xfrm>
        </p:spPr>
        <p:txBody>
          <a:bodyPr/>
          <a:lstStyle>
            <a:lvl1pPr>
              <a:defRPr sz="1765"/>
            </a:lvl1pPr>
            <a:lvl2pPr>
              <a:defRPr sz="1568"/>
            </a:lvl2pPr>
            <a:lvl3pPr>
              <a:defRPr sz="1568"/>
            </a:lvl3pPr>
            <a:lvl4pPr>
              <a:defRPr sz="1568"/>
            </a:lvl4pPr>
            <a:lvl5pPr>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8"/>
          <p:cNvSpPr>
            <a:spLocks noGrp="1" noChangeAspect="1"/>
          </p:cNvSpPr>
          <p:nvPr>
            <p:ph type="pic" sz="quarter" idx="14" hasCustomPrompt="1"/>
          </p:nvPr>
        </p:nvSpPr>
        <p:spPr>
          <a:xfrm>
            <a:off x="5150689" y="2163125"/>
            <a:ext cx="7041311" cy="4694875"/>
          </a:xfrm>
          <a:solidFill>
            <a:srgbClr val="00172A"/>
          </a:solidFill>
        </p:spPr>
        <p:txBody>
          <a:bodyPr lIns="1097280" tIns="0" rIns="1097280" bIns="1097280" anchor="b"/>
          <a:lstStyle>
            <a:lvl1pPr algn="ctr">
              <a:defRPr sz="1765" baseline="0">
                <a:solidFill>
                  <a:srgbClr val="C00000"/>
                </a:solidFill>
              </a:defRPr>
            </a:lvl1pPr>
          </a:lstStyle>
          <a:p>
            <a:r>
              <a:rPr lang="en-US"/>
              <a:t>Paste full screen grab here (3:2 aspect ratio). Position and scale using the image crop tool.</a:t>
            </a:r>
          </a:p>
        </p:txBody>
      </p:sp>
      <p:sp>
        <p:nvSpPr>
          <p:cNvPr id="12" name="Text Placeholder 2"/>
          <p:cNvSpPr>
            <a:spLocks noGrp="1"/>
          </p:cNvSpPr>
          <p:nvPr>
            <p:ph type="body" sz="quarter" idx="15"/>
          </p:nvPr>
        </p:nvSpPr>
        <p:spPr>
          <a:xfrm>
            <a:off x="381293" y="838962"/>
            <a:ext cx="3007457" cy="452654"/>
          </a:xfrm>
        </p:spPr>
        <p:txBody>
          <a:bodyPr wrap="none">
            <a:spAutoFit/>
          </a:bodyPr>
          <a:lstStyle>
            <a:lvl1pPr>
              <a:defRPr sz="2353">
                <a:gradFill>
                  <a:gsLst>
                    <a:gs pos="2917">
                      <a:schemeClr val="tx1">
                        <a:lumMod val="75000"/>
                      </a:schemeClr>
                    </a:gs>
                    <a:gs pos="100000">
                      <a:schemeClr val="tx1">
                        <a:lumMod val="75000"/>
                      </a:schemeClr>
                    </a:gs>
                  </a:gsLst>
                  <a:lin ang="5400000" scaled="0"/>
                </a:gradFill>
              </a:defRPr>
            </a:lvl1pPr>
          </a:lstStyle>
          <a:p>
            <a:pPr lvl="0"/>
            <a:r>
              <a:rPr lang="en-US"/>
              <a:t>Edit Master text styles</a:t>
            </a:r>
          </a:p>
        </p:txBody>
      </p:sp>
    </p:spTree>
    <p:extLst>
      <p:ext uri="{BB962C8B-B14F-4D97-AF65-F5344CB8AC3E}">
        <p14:creationId xmlns:p14="http://schemas.microsoft.com/office/powerpoint/2010/main" val="4049705587"/>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747897"/>
          </a:xfrm>
        </p:spPr>
        <p:txBody>
          <a:bodyPr/>
          <a:lstStyle>
            <a:lvl1pPr>
              <a:defRPr>
                <a:gradFill>
                  <a:gsLst>
                    <a:gs pos="1250">
                      <a:schemeClr val="tx2"/>
                    </a:gs>
                    <a:gs pos="100000">
                      <a:schemeClr val="tx2"/>
                    </a:gs>
                  </a:gsLst>
                  <a:lin ang="5400000" scaled="0"/>
                </a:gradFill>
              </a:defRPr>
            </a:lvl1pPr>
          </a:lstStyle>
          <a:p>
            <a:r>
              <a:rPr lang="en-US" dirty="0"/>
              <a:t>Click to edit Master title style</a:t>
            </a:r>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284078" indent="-284078">
              <a:buFont typeface="Wingdings" pitchFamily="2" charset="2"/>
              <a:buChar char=""/>
              <a:defRPr sz="3999"/>
            </a:lvl1pPr>
            <a:lvl2pPr marL="517370" indent="-233293">
              <a:buFont typeface="Wingdings" pitchFamily="2" charset="2"/>
              <a:buChar char=""/>
              <a:defRPr>
                <a:latin typeface="+mn-lt"/>
              </a:defRPr>
            </a:lvl2pPr>
            <a:lvl3pPr marL="741141" indent="-223771">
              <a:buFont typeface="Wingdings" pitchFamily="2" charset="2"/>
              <a:buChar char=""/>
              <a:tabLst/>
              <a:defRPr>
                <a:latin typeface="+mn-lt"/>
              </a:defRPr>
            </a:lvl3pPr>
            <a:lvl4pPr marL="914126" indent="-172986">
              <a:buFont typeface="Wingdings" pitchFamily="2" charset="2"/>
              <a:buChar char=""/>
              <a:defRPr>
                <a:latin typeface="+mn-lt"/>
              </a:defRPr>
            </a:lvl4pPr>
            <a:lvl5pPr marL="1087112" indent="-172986">
              <a:buFont typeface="Wingdings" pitchFamily="2" charset="2"/>
              <a:buChar char=""/>
              <a:tabLst/>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gradFill>
                  <a:gsLst>
                    <a:gs pos="100000">
                      <a:srgbClr val="797A7D"/>
                    </a:gs>
                    <a:gs pos="0">
                      <a:srgbClr val="797A7D"/>
                    </a:gs>
                  </a:gsLst>
                  <a:lin ang="5400000" scaled="0"/>
                </a:gradFill>
              </a:rPr>
              <a:pPr/>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182915" y="6021143"/>
            <a:ext cx="1763728" cy="813816"/>
          </a:xfrm>
          <a:prstGeom prst="rect">
            <a:avLst/>
          </a:prstGeom>
        </p:spPr>
      </p:pic>
    </p:spTree>
    <p:extLst>
      <p:ext uri="{BB962C8B-B14F-4D97-AF65-F5344CB8AC3E}">
        <p14:creationId xmlns:p14="http://schemas.microsoft.com/office/powerpoint/2010/main" val="229271282"/>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7" y="1447803"/>
            <a:ext cx="5396365" cy="2462213"/>
          </a:xfrm>
        </p:spPr>
        <p:txBody>
          <a:bodyPr/>
          <a:lstStyle>
            <a:lvl1pPr marL="0" indent="0">
              <a:spcBef>
                <a:spcPts val="1200"/>
              </a:spcBef>
              <a:buNone/>
              <a:defRPr sz="3999">
                <a:gradFill>
                  <a:gsLst>
                    <a:gs pos="100000">
                      <a:schemeClr val="tx2"/>
                    </a:gs>
                    <a:gs pos="0">
                      <a:schemeClr val="tx2"/>
                    </a:gs>
                  </a:gsLst>
                  <a:lin ang="5400000" scaled="0"/>
                </a:gradFill>
                <a:latin typeface="+mj-lt"/>
              </a:defRPr>
            </a:lvl1pPr>
            <a:lvl2pPr marL="0" indent="0">
              <a:buNone/>
              <a:defRPr sz="1999"/>
            </a:lvl2pPr>
            <a:lvl3pPr marL="233293" indent="0">
              <a:buNone/>
              <a:defRPr sz="1999"/>
            </a:lvl3pPr>
            <a:lvl4pPr marL="457063" indent="0">
              <a:buNone/>
              <a:defRPr sz="1999"/>
            </a:lvl4pPr>
            <a:lvl5pPr marL="693530" indent="0">
              <a:buNone/>
              <a:defRPr sz="19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279563" y="1447803"/>
            <a:ext cx="5396365" cy="2462213"/>
          </a:xfrm>
        </p:spPr>
        <p:txBody>
          <a:bodyPr/>
          <a:lstStyle>
            <a:lvl1pPr marL="0" indent="0">
              <a:spcBef>
                <a:spcPts val="1200"/>
              </a:spcBef>
              <a:buNone/>
              <a:defRPr lang="en-US" sz="3999" kern="1200" spc="-70" baseline="0" dirty="0" smtClean="0">
                <a:gradFill>
                  <a:gsLst>
                    <a:gs pos="100000">
                      <a:schemeClr val="tx2"/>
                    </a:gs>
                    <a:gs pos="0">
                      <a:schemeClr val="tx2"/>
                    </a:gs>
                  </a:gsLst>
                  <a:lin ang="5400000" scaled="0"/>
                </a:gradFill>
                <a:latin typeface="+mj-lt"/>
                <a:ea typeface="+mn-ea"/>
                <a:cs typeface="+mn-cs"/>
              </a:defRPr>
            </a:lvl1pPr>
            <a:lvl2pPr marL="3174" marR="0" indent="0" algn="l" defTabSz="914089"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250">
                      <a:schemeClr val="bg2"/>
                    </a:gs>
                    <a:gs pos="100000">
                      <a:schemeClr val="bg2"/>
                    </a:gs>
                  </a:gsLst>
                  <a:lin ang="5400000" scaled="0"/>
                </a:gradFill>
                <a:latin typeface="+mn-lt"/>
                <a:ea typeface="+mn-ea"/>
                <a:cs typeface="+mn-cs"/>
              </a:defRPr>
            </a:lvl2pPr>
            <a:lvl3pPr marL="233293" marR="0" indent="0" algn="l" defTabSz="914089"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250">
                      <a:schemeClr val="bg2"/>
                    </a:gs>
                    <a:gs pos="100000">
                      <a:schemeClr val="bg2"/>
                    </a:gs>
                  </a:gsLst>
                  <a:lin ang="5400000" scaled="0"/>
                </a:gradFill>
                <a:latin typeface="+mn-lt"/>
                <a:ea typeface="+mn-ea"/>
                <a:cs typeface="+mn-cs"/>
              </a:defRPr>
            </a:lvl3pPr>
            <a:lvl4pPr marL="460237" marR="0" indent="0" algn="l" defTabSz="914089"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250">
                      <a:schemeClr val="bg2"/>
                    </a:gs>
                    <a:gs pos="100000">
                      <a:schemeClr val="bg2"/>
                    </a:gs>
                  </a:gsLst>
                  <a:lin ang="5400000" scaled="0"/>
                </a:gradFill>
                <a:latin typeface="+mn-lt"/>
                <a:ea typeface="+mn-ea"/>
                <a:cs typeface="+mn-cs"/>
              </a:defRPr>
            </a:lvl4pPr>
            <a:lvl5pPr marL="687182" marR="0" indent="0" algn="l" defTabSz="914089"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089"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gradFill>
                  <a:gsLst>
                    <a:gs pos="100000">
                      <a:srgbClr val="797A7D"/>
                    </a:gs>
                    <a:gs pos="0">
                      <a:srgbClr val="797A7D"/>
                    </a:gs>
                  </a:gsLst>
                  <a:lin ang="5400000" scaled="0"/>
                </a:gradFill>
              </a:rPr>
              <a:pPr/>
              <a:t>‹#›</a:t>
            </a:fld>
            <a:endParaRPr lang="en-US" dirty="0">
              <a:gradFill>
                <a:gsLst>
                  <a:gs pos="100000">
                    <a:srgbClr val="797A7D"/>
                  </a:gs>
                  <a:gs pos="0">
                    <a:srgbClr val="797A7D"/>
                  </a:gs>
                </a:gsLst>
                <a:lin ang="5400000" scaled="0"/>
              </a:gradFill>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182915" y="6021143"/>
            <a:ext cx="1763728" cy="813816"/>
          </a:xfrm>
          <a:prstGeom prst="rect">
            <a:avLst/>
          </a:prstGeom>
        </p:spPr>
      </p:pic>
    </p:spTree>
    <p:extLst>
      <p:ext uri="{BB962C8B-B14F-4D97-AF65-F5344CB8AC3E}">
        <p14:creationId xmlns:p14="http://schemas.microsoft.com/office/powerpoint/2010/main" val="1725319223"/>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dirty="0"/>
              <a:t>Click to edit Master title style</a:t>
            </a:r>
          </a:p>
        </p:txBody>
      </p:sp>
      <p:sp>
        <p:nvSpPr>
          <p:cNvPr id="6" name="Text Placeholder 5"/>
          <p:cNvSpPr>
            <a:spLocks noGrp="1"/>
          </p:cNvSpPr>
          <p:nvPr>
            <p:ph type="body" sz="quarter" idx="11"/>
          </p:nvPr>
        </p:nvSpPr>
        <p:spPr>
          <a:xfrm>
            <a:off x="520837" y="1447803"/>
            <a:ext cx="5396365" cy="2462213"/>
          </a:xfrm>
        </p:spPr>
        <p:txBody>
          <a:bodyPr/>
          <a:lstStyle>
            <a:lvl1pPr marL="0" indent="0">
              <a:spcBef>
                <a:spcPts val="1200"/>
              </a:spcBef>
              <a:buNone/>
              <a:defRPr sz="3999">
                <a:gradFill>
                  <a:gsLst>
                    <a:gs pos="1000">
                      <a:schemeClr val="bg2"/>
                    </a:gs>
                    <a:gs pos="98000">
                      <a:schemeClr val="bg2"/>
                    </a:gs>
                  </a:gsLst>
                  <a:lin ang="5400000" scaled="0"/>
                </a:gradFill>
                <a:latin typeface="+mj-lt"/>
              </a:defRPr>
            </a:lvl1pPr>
            <a:lvl2pPr marL="0" indent="0">
              <a:buNone/>
              <a:defRPr sz="1999">
                <a:gradFill>
                  <a:gsLst>
                    <a:gs pos="1000">
                      <a:schemeClr val="bg2"/>
                    </a:gs>
                    <a:gs pos="98000">
                      <a:schemeClr val="bg2"/>
                    </a:gs>
                  </a:gsLst>
                  <a:lin ang="5400000" scaled="0"/>
                </a:gradFill>
              </a:defRPr>
            </a:lvl2pPr>
            <a:lvl3pPr marL="233293" indent="0">
              <a:buNone/>
              <a:defRPr sz="1999">
                <a:gradFill>
                  <a:gsLst>
                    <a:gs pos="1000">
                      <a:schemeClr val="bg2"/>
                    </a:gs>
                    <a:gs pos="98000">
                      <a:schemeClr val="bg2"/>
                    </a:gs>
                  </a:gsLst>
                  <a:lin ang="5400000" scaled="0"/>
                </a:gradFill>
              </a:defRPr>
            </a:lvl3pPr>
            <a:lvl4pPr marL="457063" indent="0">
              <a:buNone/>
              <a:defRPr sz="1999">
                <a:gradFill>
                  <a:gsLst>
                    <a:gs pos="1000">
                      <a:schemeClr val="bg2"/>
                    </a:gs>
                    <a:gs pos="98000">
                      <a:schemeClr val="bg2"/>
                    </a:gs>
                  </a:gsLst>
                  <a:lin ang="5400000" scaled="0"/>
                </a:gradFill>
              </a:defRPr>
            </a:lvl4pPr>
            <a:lvl5pPr marL="693530" indent="0">
              <a:buNone/>
              <a:defRPr sz="1999">
                <a:gradFill>
                  <a:gsLst>
                    <a:gs pos="1000">
                      <a:schemeClr val="bg2"/>
                    </a:gs>
                    <a:gs pos="98000">
                      <a:schemeClr val="bg2"/>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279563" y="1447803"/>
            <a:ext cx="5396365" cy="2462213"/>
          </a:xfrm>
        </p:spPr>
        <p:txBody>
          <a:bodyPr/>
          <a:lstStyle>
            <a:lvl1pPr marL="0" indent="0">
              <a:spcBef>
                <a:spcPts val="1200"/>
              </a:spcBef>
              <a:buNone/>
              <a:defRPr lang="en-US" sz="3999" kern="1200" spc="-70" baseline="0" dirty="0" smtClean="0">
                <a:gradFill>
                  <a:gsLst>
                    <a:gs pos="1000">
                      <a:schemeClr val="bg2"/>
                    </a:gs>
                    <a:gs pos="98000">
                      <a:schemeClr val="bg2"/>
                    </a:gs>
                  </a:gsLst>
                  <a:lin ang="5400000" scaled="0"/>
                </a:gradFill>
                <a:latin typeface="+mj-lt"/>
                <a:ea typeface="+mn-ea"/>
                <a:cs typeface="+mn-cs"/>
              </a:defRPr>
            </a:lvl1pPr>
            <a:lvl2pPr marL="3174" marR="0" indent="0" algn="l" defTabSz="914089"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000">
                      <a:schemeClr val="bg2"/>
                    </a:gs>
                    <a:gs pos="98000">
                      <a:schemeClr val="bg2"/>
                    </a:gs>
                  </a:gsLst>
                  <a:lin ang="5400000" scaled="0"/>
                </a:gradFill>
                <a:latin typeface="+mn-lt"/>
                <a:ea typeface="+mn-ea"/>
                <a:cs typeface="+mn-cs"/>
              </a:defRPr>
            </a:lvl2pPr>
            <a:lvl3pPr marL="233293" marR="0" indent="0" algn="l" defTabSz="914089"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000">
                      <a:schemeClr val="bg2"/>
                    </a:gs>
                    <a:gs pos="98000">
                      <a:schemeClr val="bg2"/>
                    </a:gs>
                  </a:gsLst>
                  <a:lin ang="5400000" scaled="0"/>
                </a:gradFill>
                <a:latin typeface="+mn-lt"/>
                <a:ea typeface="+mn-ea"/>
                <a:cs typeface="+mn-cs"/>
              </a:defRPr>
            </a:lvl3pPr>
            <a:lvl4pPr marL="460237" marR="0" indent="0" algn="l" defTabSz="914089"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000">
                      <a:schemeClr val="bg2"/>
                    </a:gs>
                    <a:gs pos="98000">
                      <a:schemeClr val="bg2"/>
                    </a:gs>
                  </a:gsLst>
                  <a:lin ang="5400000" scaled="0"/>
                </a:gradFill>
                <a:latin typeface="+mn-lt"/>
                <a:ea typeface="+mn-ea"/>
                <a:cs typeface="+mn-cs"/>
              </a:defRPr>
            </a:lvl4pPr>
            <a:lvl5pPr marL="687182" marR="0" indent="0" algn="l" defTabSz="914089"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089"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gradFill>
                  <a:gsLst>
                    <a:gs pos="100000">
                      <a:srgbClr val="797A7D"/>
                    </a:gs>
                    <a:gs pos="0">
                      <a:srgbClr val="797A7D"/>
                    </a:gs>
                  </a:gsLst>
                  <a:lin ang="5400000" scaled="0"/>
                </a:gradFill>
              </a:rPr>
              <a:pPr/>
              <a:t>‹#›</a:t>
            </a:fld>
            <a:endParaRPr lang="en-US" dirty="0">
              <a:gradFill>
                <a:gsLst>
                  <a:gs pos="100000">
                    <a:srgbClr val="797A7D"/>
                  </a:gs>
                  <a:gs pos="0">
                    <a:srgbClr val="797A7D"/>
                  </a:gs>
                </a:gsLst>
                <a:lin ang="5400000" scaled="0"/>
              </a:gradFill>
            </a:endParaRP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182915" y="6021143"/>
            <a:ext cx="1763728" cy="813816"/>
          </a:xfrm>
          <a:prstGeom prst="rect">
            <a:avLst/>
          </a:prstGeom>
        </p:spPr>
      </p:pic>
    </p:spTree>
    <p:extLst>
      <p:ext uri="{BB962C8B-B14F-4D97-AF65-F5344CB8AC3E}">
        <p14:creationId xmlns:p14="http://schemas.microsoft.com/office/powerpoint/2010/main" val="2264796073"/>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dirty="0"/>
              <a:t>Click to edit Master title style</a:t>
            </a:r>
          </a:p>
        </p:txBody>
      </p:sp>
      <p:sp>
        <p:nvSpPr>
          <p:cNvPr id="4" name="Text Placeholder 3"/>
          <p:cNvSpPr>
            <a:spLocks noGrp="1"/>
          </p:cNvSpPr>
          <p:nvPr>
            <p:ph type="body" sz="quarter" idx="10"/>
          </p:nvPr>
        </p:nvSpPr>
        <p:spPr>
          <a:xfrm>
            <a:off x="520837" y="1447803"/>
            <a:ext cx="5396365" cy="2351413"/>
          </a:xfrm>
        </p:spPr>
        <p:txBody>
          <a:bodyPr>
            <a:spAutoFit/>
          </a:bodyPr>
          <a:lstStyle>
            <a:lvl1pPr marL="292012" indent="-292012">
              <a:spcBef>
                <a:spcPts val="1200"/>
              </a:spcBef>
              <a:buClr>
                <a:schemeClr val="bg2"/>
              </a:buClr>
              <a:buSzPct val="100000"/>
              <a:buFont typeface="Wingdings" pitchFamily="2" charset="2"/>
              <a:buChar char=""/>
              <a:defRPr lang="en-US" sz="3599" kern="1200" spc="-70" baseline="0" dirty="0" smtClean="0">
                <a:gradFill>
                  <a:gsLst>
                    <a:gs pos="1250">
                      <a:schemeClr val="bg2"/>
                    </a:gs>
                    <a:gs pos="100000">
                      <a:schemeClr val="bg2"/>
                    </a:gs>
                  </a:gsLst>
                  <a:lin ang="5400000" scaled="0"/>
                </a:gradFill>
                <a:latin typeface="+mj-lt"/>
                <a:ea typeface="+mn-ea"/>
                <a:cs typeface="+mn-cs"/>
              </a:defRPr>
            </a:lvl1pPr>
            <a:lvl2pPr marL="520544" indent="-228531">
              <a:defRPr sz="1999"/>
            </a:lvl2pPr>
            <a:lvl3pPr marL="685594" indent="-165050">
              <a:tabLst/>
              <a:defRPr sz="1999"/>
            </a:lvl3pPr>
            <a:lvl4pPr marL="863341" indent="-177747">
              <a:defRPr/>
            </a:lvl4pPr>
            <a:lvl5pPr marL="1028391" indent="-165050">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6279563" y="1447803"/>
            <a:ext cx="5396365" cy="2351413"/>
          </a:xfrm>
        </p:spPr>
        <p:txBody>
          <a:bodyPr>
            <a:spAutoFit/>
          </a:bodyPr>
          <a:lstStyle>
            <a:lvl1pPr marL="339623" indent="-339623">
              <a:spcBef>
                <a:spcPts val="1200"/>
              </a:spcBef>
              <a:buClr>
                <a:schemeClr val="bg2"/>
              </a:buClr>
              <a:buFont typeface="Arial" pitchFamily="34" charset="0"/>
              <a:buChar char="•"/>
              <a:defRPr lang="en-US" sz="3599" kern="1200" spc="-70" baseline="0" dirty="0" smtClean="0">
                <a:gradFill>
                  <a:gsLst>
                    <a:gs pos="1250">
                      <a:schemeClr val="bg2"/>
                    </a:gs>
                    <a:gs pos="100000">
                      <a:schemeClr val="bg2"/>
                    </a:gs>
                  </a:gsLst>
                  <a:lin ang="5400000" scaled="0"/>
                </a:gradFill>
                <a:latin typeface="+mj-lt"/>
                <a:ea typeface="+mn-ea"/>
                <a:cs typeface="+mn-cs"/>
              </a:defRPr>
            </a:lvl1pPr>
            <a:lvl2pPr marL="634810" indent="-342797">
              <a:defRPr lang="en-US" sz="1999" kern="1200" spc="0" baseline="0" dirty="0" smtClean="0">
                <a:gradFill>
                  <a:gsLst>
                    <a:gs pos="1250">
                      <a:schemeClr val="bg2"/>
                    </a:gs>
                    <a:gs pos="100000">
                      <a:schemeClr val="bg2"/>
                    </a:gs>
                  </a:gsLst>
                  <a:lin ang="5400000" scaled="0"/>
                </a:gradFill>
                <a:latin typeface="+mn-lt"/>
                <a:ea typeface="+mn-ea"/>
                <a:cs typeface="+mn-cs"/>
              </a:defRPr>
            </a:lvl2pPr>
            <a:lvl3pPr marL="863341" indent="-342797">
              <a:defRPr lang="en-US" sz="1999" kern="1200" spc="0" baseline="0" dirty="0" smtClean="0">
                <a:gradFill>
                  <a:gsLst>
                    <a:gs pos="1250">
                      <a:schemeClr val="bg2"/>
                    </a:gs>
                    <a:gs pos="100000">
                      <a:schemeClr val="bg2"/>
                    </a:gs>
                  </a:gsLst>
                  <a:lin ang="5400000" scaled="0"/>
                </a:gradFill>
                <a:latin typeface="+mn-lt"/>
                <a:ea typeface="+mn-ea"/>
                <a:cs typeface="+mn-cs"/>
              </a:defRPr>
            </a:lvl3pPr>
            <a:lvl4pPr marL="1028391" indent="-342797">
              <a:defRPr lang="en-US" sz="1999" kern="1200" spc="0" baseline="0" dirty="0" smtClean="0">
                <a:gradFill>
                  <a:gsLst>
                    <a:gs pos="1250">
                      <a:schemeClr val="bg2"/>
                    </a:gs>
                    <a:gs pos="100000">
                      <a:schemeClr val="bg2"/>
                    </a:gs>
                  </a:gsLst>
                  <a:lin ang="5400000" scaled="0"/>
                </a:gradFill>
                <a:latin typeface="+mn-lt"/>
                <a:ea typeface="+mn-ea"/>
                <a:cs typeface="+mn-cs"/>
              </a:defRPr>
            </a:lvl4pPr>
            <a:lvl5pPr marL="1206138" indent="-342797">
              <a:defRPr lang="en-US" sz="1999" kern="1200" spc="0" baseline="0" dirty="0">
                <a:gradFill>
                  <a:gsLst>
                    <a:gs pos="1250">
                      <a:schemeClr val="bg2"/>
                    </a:gs>
                    <a:gs pos="100000">
                      <a:schemeClr val="bg2"/>
                    </a:gs>
                  </a:gsLst>
                  <a:lin ang="5400000" scaled="0"/>
                </a:gradFill>
                <a:latin typeface="+mn-lt"/>
                <a:ea typeface="+mn-ea"/>
                <a:cs typeface="+mn-cs"/>
              </a:defRPr>
            </a:lvl5pPr>
          </a:lstStyle>
          <a:p>
            <a:pPr marL="292012" marR="0" lvl="0" indent="-292012" algn="l" defTabSz="914089"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dirty="0"/>
              <a:t>Click to edit Master text styles</a:t>
            </a:r>
          </a:p>
          <a:p>
            <a:pPr marL="520544" marR="0" lvl="1" indent="-228531" algn="l" defTabSz="914089" rtl="0" eaLnBrk="1" fontAlgn="auto" latinLnBrk="0" hangingPunct="1">
              <a:lnSpc>
                <a:spcPct val="90000"/>
              </a:lnSpc>
              <a:spcBef>
                <a:spcPct val="20000"/>
              </a:spcBef>
              <a:spcAft>
                <a:spcPts val="0"/>
              </a:spcAft>
              <a:buClrTx/>
              <a:buSzPct val="90000"/>
              <a:buFont typeface="Wingdings" pitchFamily="2" charset="2"/>
              <a:buChar char=""/>
              <a:tabLst/>
            </a:pPr>
            <a:r>
              <a:rPr lang="en-US" dirty="0"/>
              <a:t>Second level</a:t>
            </a:r>
          </a:p>
          <a:p>
            <a:pPr marL="685594" marR="0" lvl="2" indent="-165050" algn="l" defTabSz="914089" rtl="0" eaLnBrk="1" fontAlgn="auto" latinLnBrk="0" hangingPunct="1">
              <a:lnSpc>
                <a:spcPct val="90000"/>
              </a:lnSpc>
              <a:spcBef>
                <a:spcPct val="20000"/>
              </a:spcBef>
              <a:spcAft>
                <a:spcPts val="0"/>
              </a:spcAft>
              <a:buClrTx/>
              <a:buSzPct val="90000"/>
              <a:buFont typeface="Wingdings" pitchFamily="2" charset="2"/>
              <a:buChar char=""/>
              <a:tabLst/>
            </a:pPr>
            <a:r>
              <a:rPr lang="en-US" dirty="0"/>
              <a:t>Third level</a:t>
            </a:r>
          </a:p>
          <a:p>
            <a:pPr marL="863341" marR="0" lvl="3" indent="-177747" algn="l" defTabSz="914089" rtl="0" eaLnBrk="1" fontAlgn="auto" latinLnBrk="0" hangingPunct="1">
              <a:lnSpc>
                <a:spcPct val="90000"/>
              </a:lnSpc>
              <a:spcBef>
                <a:spcPct val="20000"/>
              </a:spcBef>
              <a:spcAft>
                <a:spcPts val="0"/>
              </a:spcAft>
              <a:buClrTx/>
              <a:buSzPct val="90000"/>
              <a:buFont typeface="Wingdings" pitchFamily="2" charset="2"/>
              <a:buChar char=""/>
              <a:tabLst/>
            </a:pPr>
            <a:r>
              <a:rPr lang="en-US" dirty="0"/>
              <a:t>Fourth level</a:t>
            </a:r>
          </a:p>
          <a:p>
            <a:pPr marL="1028391" marR="0" lvl="4" indent="-165050" algn="l" defTabSz="914089" rtl="0" eaLnBrk="1" fontAlgn="auto" latinLnBrk="0" hangingPunct="1">
              <a:lnSpc>
                <a:spcPct val="90000"/>
              </a:lnSpc>
              <a:spcBef>
                <a:spcPct val="20000"/>
              </a:spcBef>
              <a:spcAft>
                <a:spcPts val="0"/>
              </a:spcAft>
              <a:buClrTx/>
              <a:buSzPct val="90000"/>
              <a:buFont typeface="Wingdings" pitchFamily="2" charset="2"/>
              <a:buChar char=""/>
              <a:tabLst/>
            </a:pPr>
            <a:r>
              <a:rPr lang="en-US" dirty="0"/>
              <a:t>Fifth level</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gradFill>
                  <a:gsLst>
                    <a:gs pos="100000">
                      <a:srgbClr val="797A7D"/>
                    </a:gs>
                    <a:gs pos="0">
                      <a:srgbClr val="797A7D"/>
                    </a:gs>
                  </a:gsLst>
                  <a:lin ang="5400000" scaled="0"/>
                </a:gradFill>
              </a:rPr>
              <a:pPr/>
              <a:t>‹#›</a:t>
            </a:fld>
            <a:endParaRPr lang="en-US" dirty="0">
              <a:gradFill>
                <a:gsLst>
                  <a:gs pos="100000">
                    <a:srgbClr val="797A7D"/>
                  </a:gs>
                  <a:gs pos="0">
                    <a:srgbClr val="797A7D"/>
                  </a:gs>
                </a:gsLst>
                <a:lin ang="5400000" scaled="0"/>
              </a:gra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182915" y="6021143"/>
            <a:ext cx="1763728" cy="813816"/>
          </a:xfrm>
          <a:prstGeom prst="rect">
            <a:avLst/>
          </a:prstGeom>
        </p:spPr>
      </p:pic>
    </p:spTree>
    <p:extLst>
      <p:ext uri="{BB962C8B-B14F-4D97-AF65-F5344CB8AC3E}">
        <p14:creationId xmlns:p14="http://schemas.microsoft.com/office/powerpoint/2010/main" val="4173005879"/>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Large &amp; Small Content 1">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7" y="1447803"/>
            <a:ext cx="2438399" cy="1661993"/>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9310" indent="0">
              <a:buNone/>
              <a:defRPr sz="2699" b="1"/>
            </a:lvl2pPr>
            <a:lvl3pPr marL="1218621" indent="0">
              <a:buNone/>
              <a:defRPr sz="2399" b="1"/>
            </a:lvl3pPr>
            <a:lvl4pPr marL="1827931" indent="0">
              <a:buNone/>
              <a:defRPr sz="2099" b="1"/>
            </a:lvl4pPr>
            <a:lvl5pPr marL="2437242" indent="0">
              <a:buNone/>
              <a:defRPr sz="2099" b="1"/>
            </a:lvl5pPr>
            <a:lvl6pPr marL="3046553" indent="0">
              <a:buNone/>
              <a:defRPr sz="2099" b="1"/>
            </a:lvl6pPr>
            <a:lvl7pPr marL="3655863" indent="0">
              <a:buNone/>
              <a:defRPr sz="2099" b="1"/>
            </a:lvl7pPr>
            <a:lvl8pPr marL="4265173" indent="0">
              <a:buNone/>
              <a:defRPr sz="2099" b="1"/>
            </a:lvl8pPr>
            <a:lvl9pPr marL="4874484" indent="0">
              <a:buNone/>
              <a:defRPr sz="2099" b="1"/>
            </a:lvl9pPr>
          </a:lstStyle>
          <a:p>
            <a:pPr lvl="0"/>
            <a:r>
              <a:rPr lang="en-US" dirty="0"/>
              <a:t>Click to edit Master text styles.</a:t>
            </a:r>
          </a:p>
        </p:txBody>
      </p:sp>
      <p:sp>
        <p:nvSpPr>
          <p:cNvPr id="6" name="Content Placeholder 5"/>
          <p:cNvSpPr>
            <a:spLocks noGrp="1"/>
          </p:cNvSpPr>
          <p:nvPr>
            <p:ph sz="quarter" idx="4"/>
          </p:nvPr>
        </p:nvSpPr>
        <p:spPr>
          <a:xfrm>
            <a:off x="3509660" y="1671274"/>
            <a:ext cx="8166271" cy="332399"/>
          </a:xfrm>
          <a:prstGeom prst="rect">
            <a:avLst/>
          </a:prstGeom>
        </p:spPr>
        <p:txBody>
          <a:bodyPr>
            <a:noAutofit/>
          </a:bodyPr>
          <a:lstStyle>
            <a:lvl1pPr marL="0" indent="0">
              <a:spcBef>
                <a:spcPts val="1200"/>
              </a:spcBef>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966" indent="-380819">
              <a:defRPr lang="en-US" sz="2099" kern="1200" dirty="0" smtClean="0">
                <a:solidFill>
                  <a:schemeClr val="bg2">
                    <a:lumMod val="50000"/>
                  </a:schemeClr>
                </a:solidFill>
                <a:latin typeface="+mn-lt"/>
                <a:ea typeface="+mn-ea"/>
                <a:cs typeface="Arial" pitchFamily="34" charset="0"/>
              </a:defRPr>
            </a:lvl2pPr>
            <a:lvl3pPr marL="913966" indent="-228491">
              <a:defRPr lang="en-US" sz="1899" kern="1200" dirty="0" smtClean="0">
                <a:solidFill>
                  <a:schemeClr val="bg2">
                    <a:lumMod val="50000"/>
                  </a:schemeClr>
                </a:solidFill>
                <a:latin typeface="+mn-lt"/>
                <a:ea typeface="+mn-ea"/>
                <a:cs typeface="Arial" pitchFamily="34" charset="0"/>
              </a:defRPr>
            </a:lvl3pPr>
            <a:lvl4pPr marL="1218621" indent="-228491">
              <a:defRPr lang="en-US" sz="1600" kern="1200" dirty="0" smtClean="0">
                <a:solidFill>
                  <a:schemeClr val="bg2">
                    <a:lumMod val="50000"/>
                  </a:schemeClr>
                </a:solidFill>
                <a:latin typeface="+mn-lt"/>
                <a:ea typeface="+mn-ea"/>
                <a:cs typeface="Arial" pitchFamily="34" charset="0"/>
              </a:defRPr>
            </a:lvl4pPr>
            <a:lvl5pPr marL="1447113" indent="-228491">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dirty="0"/>
              <a:t>Click to edit Master text styles</a:t>
            </a:r>
          </a:p>
        </p:txBody>
      </p:sp>
      <p:sp>
        <p:nvSpPr>
          <p:cNvPr id="12" name="Title 11"/>
          <p:cNvSpPr>
            <a:spLocks noGrp="1"/>
          </p:cNvSpPr>
          <p:nvPr>
            <p:ph type="title"/>
          </p:nvPr>
        </p:nvSpPr>
        <p:spPr/>
        <p:txBody>
          <a:bodyPr>
            <a:noAutofit/>
          </a:bodyPr>
          <a:lstStyle>
            <a:lvl1pPr>
              <a:defRPr/>
            </a:lvl1pPr>
          </a:lstStyle>
          <a:p>
            <a:r>
              <a:rPr lang="en-US" dirty="0"/>
              <a:t>Click to edit Master title style</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gradFill>
                  <a:gsLst>
                    <a:gs pos="100000">
                      <a:srgbClr val="797A7D"/>
                    </a:gs>
                    <a:gs pos="0">
                      <a:srgbClr val="797A7D"/>
                    </a:gs>
                  </a:gsLst>
                  <a:lin ang="5400000" scaled="0"/>
                </a:gradFill>
              </a:rPr>
              <a:pPr/>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182915" y="6021143"/>
            <a:ext cx="1763728" cy="813816"/>
          </a:xfrm>
          <a:prstGeom prst="rect">
            <a:avLst/>
          </a:prstGeom>
        </p:spPr>
      </p:pic>
    </p:spTree>
    <p:extLst>
      <p:ext uri="{BB962C8B-B14F-4D97-AF65-F5344CB8AC3E}">
        <p14:creationId xmlns:p14="http://schemas.microsoft.com/office/powerpoint/2010/main" val="2616997138"/>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3"/>
            <a:ext cx="5434948" cy="1661993"/>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9310" indent="0">
              <a:buNone/>
              <a:defRPr sz="2699" b="1"/>
            </a:lvl2pPr>
            <a:lvl3pPr marL="1218621" indent="0">
              <a:buNone/>
              <a:defRPr sz="2399" b="1"/>
            </a:lvl3pPr>
            <a:lvl4pPr marL="1827931" indent="0">
              <a:buNone/>
              <a:defRPr sz="2099" b="1"/>
            </a:lvl4pPr>
            <a:lvl5pPr marL="2437242" indent="0">
              <a:buNone/>
              <a:defRPr sz="2099" b="1"/>
            </a:lvl5pPr>
            <a:lvl6pPr marL="3046553" indent="0">
              <a:buNone/>
              <a:defRPr sz="2099" b="1"/>
            </a:lvl6pPr>
            <a:lvl7pPr marL="3655863" indent="0">
              <a:buNone/>
              <a:defRPr sz="2099" b="1"/>
            </a:lvl7pPr>
            <a:lvl8pPr marL="4265173" indent="0">
              <a:buNone/>
              <a:defRPr sz="2099" b="1"/>
            </a:lvl8pPr>
            <a:lvl9pPr marL="4874484" indent="0">
              <a:buNone/>
              <a:defRPr sz="2099"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200"/>
              </a:spcBef>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966" indent="-380819">
              <a:defRPr lang="en-US" sz="2099" kern="1200" dirty="0" smtClean="0">
                <a:solidFill>
                  <a:schemeClr val="bg2">
                    <a:lumMod val="50000"/>
                  </a:schemeClr>
                </a:solidFill>
                <a:latin typeface="+mn-lt"/>
                <a:ea typeface="+mn-ea"/>
                <a:cs typeface="Arial" pitchFamily="34" charset="0"/>
              </a:defRPr>
            </a:lvl2pPr>
            <a:lvl3pPr marL="913966" indent="-228491">
              <a:defRPr lang="en-US" sz="1899" kern="1200" dirty="0" smtClean="0">
                <a:solidFill>
                  <a:schemeClr val="bg2">
                    <a:lumMod val="50000"/>
                  </a:schemeClr>
                </a:solidFill>
                <a:latin typeface="+mn-lt"/>
                <a:ea typeface="+mn-ea"/>
                <a:cs typeface="Arial" pitchFamily="34" charset="0"/>
              </a:defRPr>
            </a:lvl3pPr>
            <a:lvl4pPr marL="1218621" indent="-228491">
              <a:defRPr lang="en-US" sz="1600" kern="1200" dirty="0" smtClean="0">
                <a:solidFill>
                  <a:schemeClr val="bg2">
                    <a:lumMod val="50000"/>
                  </a:schemeClr>
                </a:solidFill>
                <a:latin typeface="+mn-lt"/>
                <a:ea typeface="+mn-ea"/>
                <a:cs typeface="Arial" pitchFamily="34" charset="0"/>
              </a:defRPr>
            </a:lvl4pPr>
            <a:lvl5pPr marL="1447113" indent="-228491">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dirty="0"/>
              <a:t>Click to edit Master text styles</a:t>
            </a:r>
          </a:p>
        </p:txBody>
      </p:sp>
      <p:sp>
        <p:nvSpPr>
          <p:cNvPr id="12" name="Title 11"/>
          <p:cNvSpPr>
            <a:spLocks noGrp="1"/>
          </p:cNvSpPr>
          <p:nvPr>
            <p:ph type="title"/>
          </p:nvPr>
        </p:nvSpPr>
        <p:spPr/>
        <p:txBody>
          <a:bodyPr>
            <a:noAutofit/>
          </a:bodyPr>
          <a:lstStyle>
            <a:lvl1pPr>
              <a:defRPr/>
            </a:lvl1pPr>
          </a:lstStyle>
          <a:p>
            <a:r>
              <a:rPr lang="en-US" dirty="0"/>
              <a:t>Click to edit Master title style</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gradFill>
                  <a:gsLst>
                    <a:gs pos="100000">
                      <a:srgbClr val="797A7D"/>
                    </a:gs>
                    <a:gs pos="0">
                      <a:srgbClr val="797A7D"/>
                    </a:gs>
                  </a:gsLst>
                  <a:lin ang="5400000" scaled="0"/>
                </a:gradFill>
              </a:rPr>
              <a:pPr/>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182915" y="6021143"/>
            <a:ext cx="1763728" cy="813816"/>
          </a:xfrm>
          <a:prstGeom prst="rect">
            <a:avLst/>
          </a:prstGeom>
        </p:spPr>
      </p:pic>
    </p:spTree>
    <p:extLst>
      <p:ext uri="{BB962C8B-B14F-4D97-AF65-F5344CB8AC3E}">
        <p14:creationId xmlns:p14="http://schemas.microsoft.com/office/powerpoint/2010/main" val="3755850522"/>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9310" indent="0">
              <a:buNone/>
              <a:defRPr sz="2699" b="1"/>
            </a:lvl2pPr>
            <a:lvl3pPr marL="1218621" indent="0">
              <a:buNone/>
              <a:defRPr sz="2399" b="1"/>
            </a:lvl3pPr>
            <a:lvl4pPr marL="1827931" indent="0">
              <a:buNone/>
              <a:defRPr sz="2099" b="1"/>
            </a:lvl4pPr>
            <a:lvl5pPr marL="2437242" indent="0">
              <a:buNone/>
              <a:defRPr sz="2099" b="1"/>
            </a:lvl5pPr>
            <a:lvl6pPr marL="3046553" indent="0">
              <a:buNone/>
              <a:defRPr sz="2099" b="1"/>
            </a:lvl6pPr>
            <a:lvl7pPr marL="3655863" indent="0">
              <a:buNone/>
              <a:defRPr sz="2099" b="1"/>
            </a:lvl7pPr>
            <a:lvl8pPr marL="4265173" indent="0">
              <a:buNone/>
              <a:defRPr sz="2099" b="1"/>
            </a:lvl8pPr>
            <a:lvl9pPr marL="4874484" indent="0">
              <a:buNone/>
              <a:defRPr sz="2099"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gradFill>
                  <a:gsLst>
                    <a:gs pos="100000">
                      <a:srgbClr val="797A7D"/>
                    </a:gs>
                    <a:gs pos="0">
                      <a:srgbClr val="797A7D"/>
                    </a:gs>
                  </a:gsLst>
                  <a:lin ang="5400000" scaled="0"/>
                </a:gradFill>
              </a:rPr>
              <a:pPr/>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836" y="2734985"/>
            <a:ext cx="5445583"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966" indent="-380819">
              <a:defRPr lang="en-US" sz="2099" kern="1200" dirty="0" smtClean="0">
                <a:solidFill>
                  <a:schemeClr val="bg2">
                    <a:lumMod val="50000"/>
                  </a:schemeClr>
                </a:solidFill>
                <a:latin typeface="+mn-lt"/>
                <a:ea typeface="+mn-ea"/>
                <a:cs typeface="Arial" pitchFamily="34" charset="0"/>
              </a:defRPr>
            </a:lvl2pPr>
            <a:lvl3pPr marL="913966" indent="-228491">
              <a:defRPr lang="en-US" sz="1899" kern="1200" dirty="0" smtClean="0">
                <a:solidFill>
                  <a:schemeClr val="bg2">
                    <a:lumMod val="50000"/>
                  </a:schemeClr>
                </a:solidFill>
                <a:latin typeface="+mn-lt"/>
                <a:ea typeface="+mn-ea"/>
                <a:cs typeface="Arial" pitchFamily="34" charset="0"/>
              </a:defRPr>
            </a:lvl3pPr>
            <a:lvl4pPr marL="1218621" indent="-228491">
              <a:defRPr lang="en-US" sz="1600" kern="1200" dirty="0" smtClean="0">
                <a:solidFill>
                  <a:schemeClr val="bg2">
                    <a:lumMod val="50000"/>
                  </a:schemeClr>
                </a:solidFill>
                <a:latin typeface="+mn-lt"/>
                <a:ea typeface="+mn-ea"/>
                <a:cs typeface="Arial" pitchFamily="34" charset="0"/>
              </a:defRPr>
            </a:lvl4pPr>
            <a:lvl5pPr marL="1447113" indent="-228491">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dirty="0"/>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182915" y="6021143"/>
            <a:ext cx="1763728" cy="813816"/>
          </a:xfrm>
          <a:prstGeom prst="rect">
            <a:avLst/>
          </a:prstGeom>
        </p:spPr>
      </p:pic>
    </p:spTree>
    <p:extLst>
      <p:ext uri="{BB962C8B-B14F-4D97-AF65-F5344CB8AC3E}">
        <p14:creationId xmlns:p14="http://schemas.microsoft.com/office/powerpoint/2010/main" val="1519491111"/>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9310" indent="0">
              <a:buNone/>
              <a:defRPr sz="2699" b="1"/>
            </a:lvl2pPr>
            <a:lvl3pPr marL="1218621" indent="0">
              <a:buNone/>
              <a:defRPr sz="2399" b="1"/>
            </a:lvl3pPr>
            <a:lvl4pPr marL="1827931" indent="0">
              <a:buNone/>
              <a:defRPr sz="2099" b="1"/>
            </a:lvl4pPr>
            <a:lvl5pPr marL="2437242" indent="0">
              <a:buNone/>
              <a:defRPr sz="2099" b="1"/>
            </a:lvl5pPr>
            <a:lvl6pPr marL="3046553" indent="0">
              <a:buNone/>
              <a:defRPr sz="2099" b="1"/>
            </a:lvl6pPr>
            <a:lvl7pPr marL="3655863" indent="0">
              <a:buNone/>
              <a:defRPr sz="2099" b="1"/>
            </a:lvl7pPr>
            <a:lvl8pPr marL="4265173" indent="0">
              <a:buNone/>
              <a:defRPr sz="2099" b="1"/>
            </a:lvl8pPr>
            <a:lvl9pPr marL="4874484" indent="0">
              <a:buNone/>
              <a:defRPr sz="2099" b="1"/>
            </a:lvl9pPr>
          </a:lstStyle>
          <a:p>
            <a:pPr lvl="0"/>
            <a:r>
              <a:rPr lang="en-US" dirty="0"/>
              <a:t>Click to edit Master text styles.</a:t>
            </a:r>
          </a:p>
        </p:txBody>
      </p:sp>
      <p:sp>
        <p:nvSpPr>
          <p:cNvPr id="9" name="Content Placeholder 5"/>
          <p:cNvSpPr>
            <a:spLocks noGrp="1"/>
          </p:cNvSpPr>
          <p:nvPr>
            <p:ph sz="quarter" idx="13"/>
          </p:nvPr>
        </p:nvSpPr>
        <p:spPr>
          <a:xfrm>
            <a:off x="6219711" y="2734985"/>
            <a:ext cx="5445583"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966" indent="-380819">
              <a:defRPr lang="en-US" sz="2099" kern="1200" dirty="0" smtClean="0">
                <a:solidFill>
                  <a:schemeClr val="bg2">
                    <a:lumMod val="50000"/>
                  </a:schemeClr>
                </a:solidFill>
                <a:latin typeface="+mn-lt"/>
                <a:ea typeface="+mn-ea"/>
                <a:cs typeface="Arial" pitchFamily="34" charset="0"/>
              </a:defRPr>
            </a:lvl2pPr>
            <a:lvl3pPr marL="913966" indent="-228491">
              <a:defRPr lang="en-US" sz="1899" kern="1200" dirty="0" smtClean="0">
                <a:solidFill>
                  <a:schemeClr val="bg2">
                    <a:lumMod val="50000"/>
                  </a:schemeClr>
                </a:solidFill>
                <a:latin typeface="+mn-lt"/>
                <a:ea typeface="+mn-ea"/>
                <a:cs typeface="Arial" pitchFamily="34" charset="0"/>
              </a:defRPr>
            </a:lvl3pPr>
            <a:lvl4pPr marL="1218621" indent="-228491">
              <a:defRPr lang="en-US" sz="1600" kern="1200" dirty="0" smtClean="0">
                <a:solidFill>
                  <a:schemeClr val="bg2">
                    <a:lumMod val="50000"/>
                  </a:schemeClr>
                </a:solidFill>
                <a:latin typeface="+mn-lt"/>
                <a:ea typeface="+mn-ea"/>
                <a:cs typeface="Arial" pitchFamily="34" charset="0"/>
              </a:defRPr>
            </a:lvl4pPr>
            <a:lvl5pPr marL="1447113" indent="-228491">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dirty="0"/>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182915" y="6021143"/>
            <a:ext cx="1763728" cy="813816"/>
          </a:xfrm>
          <a:prstGeom prst="rect">
            <a:avLst/>
          </a:prstGeom>
        </p:spPr>
      </p:pic>
    </p:spTree>
    <p:extLst>
      <p:ext uri="{BB962C8B-B14F-4D97-AF65-F5344CB8AC3E}">
        <p14:creationId xmlns:p14="http://schemas.microsoft.com/office/powerpoint/2010/main" val="878932972"/>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7" y="0"/>
            <a:ext cx="598802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3"/>
            <a:ext cx="5233764" cy="1661993"/>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9310" indent="0">
              <a:buNone/>
              <a:defRPr sz="2699" b="1"/>
            </a:lvl2pPr>
            <a:lvl3pPr marL="1218621" indent="0">
              <a:buNone/>
              <a:defRPr sz="2399" b="1"/>
            </a:lvl3pPr>
            <a:lvl4pPr marL="1827931" indent="0">
              <a:buNone/>
              <a:defRPr sz="2099" b="1"/>
            </a:lvl4pPr>
            <a:lvl5pPr marL="2437242" indent="0">
              <a:buNone/>
              <a:defRPr sz="2099" b="1"/>
            </a:lvl5pPr>
            <a:lvl6pPr marL="3046553" indent="0">
              <a:buNone/>
              <a:defRPr sz="2099" b="1"/>
            </a:lvl6pPr>
            <a:lvl7pPr marL="3655863" indent="0">
              <a:buNone/>
              <a:defRPr sz="2099" b="1"/>
            </a:lvl7pPr>
            <a:lvl8pPr marL="4265173" indent="0">
              <a:buNone/>
              <a:defRPr sz="2099" b="1"/>
            </a:lvl8pPr>
            <a:lvl9pPr marL="4874484" indent="0">
              <a:buNone/>
              <a:defRPr sz="2099"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200"/>
              </a:spcBef>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966" indent="-380819">
              <a:defRPr lang="en-US" sz="2099" kern="1200" dirty="0" smtClean="0">
                <a:solidFill>
                  <a:schemeClr val="bg2">
                    <a:lumMod val="50000"/>
                  </a:schemeClr>
                </a:solidFill>
                <a:latin typeface="+mn-lt"/>
                <a:ea typeface="+mn-ea"/>
                <a:cs typeface="Arial" pitchFamily="34" charset="0"/>
              </a:defRPr>
            </a:lvl2pPr>
            <a:lvl3pPr marL="913966" indent="-228491">
              <a:defRPr lang="en-US" sz="1899" kern="1200" dirty="0" smtClean="0">
                <a:solidFill>
                  <a:schemeClr val="bg2">
                    <a:lumMod val="50000"/>
                  </a:schemeClr>
                </a:solidFill>
                <a:latin typeface="+mn-lt"/>
                <a:ea typeface="+mn-ea"/>
                <a:cs typeface="Arial" pitchFamily="34" charset="0"/>
              </a:defRPr>
            </a:lvl3pPr>
            <a:lvl4pPr marL="1218621" indent="-228491">
              <a:defRPr lang="en-US" sz="1600" kern="1200" dirty="0" smtClean="0">
                <a:solidFill>
                  <a:schemeClr val="bg2">
                    <a:lumMod val="50000"/>
                  </a:schemeClr>
                </a:solidFill>
                <a:latin typeface="+mn-lt"/>
                <a:ea typeface="+mn-ea"/>
                <a:cs typeface="Arial" pitchFamily="34" charset="0"/>
              </a:defRPr>
            </a:lvl4pPr>
            <a:lvl5pPr marL="1447113" indent="-228491">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dirty="0"/>
              <a:t>Click to edit Master text styles</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182915" y="6021143"/>
            <a:ext cx="1763728" cy="813816"/>
          </a:xfrm>
          <a:prstGeom prst="rect">
            <a:avLst/>
          </a:prstGeom>
        </p:spPr>
      </p:pic>
    </p:spTree>
    <p:extLst>
      <p:ext uri="{BB962C8B-B14F-4D97-AF65-F5344CB8AC3E}">
        <p14:creationId xmlns:p14="http://schemas.microsoft.com/office/powerpoint/2010/main" val="1749488804"/>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2"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9310" indent="0">
              <a:buNone/>
              <a:defRPr sz="2699" b="1"/>
            </a:lvl2pPr>
            <a:lvl3pPr marL="1218621" indent="0">
              <a:buNone/>
              <a:defRPr sz="2399" b="1"/>
            </a:lvl3pPr>
            <a:lvl4pPr marL="1827931" indent="0">
              <a:buNone/>
              <a:defRPr sz="2099" b="1"/>
            </a:lvl4pPr>
            <a:lvl5pPr marL="2437242" indent="0">
              <a:buNone/>
              <a:defRPr sz="2099" b="1"/>
            </a:lvl5pPr>
            <a:lvl6pPr marL="3046553" indent="0">
              <a:buNone/>
              <a:defRPr sz="2099" b="1"/>
            </a:lvl6pPr>
            <a:lvl7pPr marL="3655863" indent="0">
              <a:buNone/>
              <a:defRPr sz="2099" b="1"/>
            </a:lvl7pPr>
            <a:lvl8pPr marL="4265173" indent="0">
              <a:buNone/>
              <a:defRPr sz="2099" b="1"/>
            </a:lvl8pPr>
            <a:lvl9pPr marL="4874484" indent="0">
              <a:buNone/>
              <a:defRPr sz="2099" b="1"/>
            </a:lvl9pPr>
          </a:lstStyle>
          <a:p>
            <a:pPr lvl="0"/>
            <a:r>
              <a:rPr lang="en-US" dirty="0"/>
              <a:t>Click to edit Master text styles.</a:t>
            </a:r>
          </a:p>
        </p:txBody>
      </p:sp>
      <p:sp>
        <p:nvSpPr>
          <p:cNvPr id="9" name="Content Placeholder 5"/>
          <p:cNvSpPr>
            <a:spLocks noGrp="1"/>
          </p:cNvSpPr>
          <p:nvPr>
            <p:ph sz="quarter" idx="13"/>
          </p:nvPr>
        </p:nvSpPr>
        <p:spPr>
          <a:xfrm>
            <a:off x="520836" y="2734985"/>
            <a:ext cx="5445583"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1"/>
                    </a:gs>
                    <a:gs pos="0">
                      <a:schemeClr val="bg1"/>
                    </a:gs>
                  </a:gsLst>
                  <a:lin ang="5400000" scaled="0"/>
                </a:gradFill>
                <a:latin typeface="+mn-lt"/>
                <a:ea typeface="+mn-ea"/>
                <a:cs typeface="Segoe UI" pitchFamily="34" charset="0"/>
              </a:defRPr>
            </a:lvl1pPr>
            <a:lvl2pPr marL="913966" indent="-380819">
              <a:defRPr lang="en-US" sz="2099" kern="1200" dirty="0" smtClean="0">
                <a:solidFill>
                  <a:schemeClr val="bg2">
                    <a:lumMod val="50000"/>
                  </a:schemeClr>
                </a:solidFill>
                <a:latin typeface="+mn-lt"/>
                <a:ea typeface="+mn-ea"/>
                <a:cs typeface="Arial" pitchFamily="34" charset="0"/>
              </a:defRPr>
            </a:lvl2pPr>
            <a:lvl3pPr marL="913966" indent="-228491">
              <a:defRPr lang="en-US" sz="1899" kern="1200" dirty="0" smtClean="0">
                <a:solidFill>
                  <a:schemeClr val="bg2">
                    <a:lumMod val="50000"/>
                  </a:schemeClr>
                </a:solidFill>
                <a:latin typeface="+mn-lt"/>
                <a:ea typeface="+mn-ea"/>
                <a:cs typeface="Arial" pitchFamily="34" charset="0"/>
              </a:defRPr>
            </a:lvl3pPr>
            <a:lvl4pPr marL="1218621" indent="-228491">
              <a:defRPr lang="en-US" sz="1600" kern="1200" dirty="0" smtClean="0">
                <a:solidFill>
                  <a:schemeClr val="bg2">
                    <a:lumMod val="50000"/>
                  </a:schemeClr>
                </a:solidFill>
                <a:latin typeface="+mn-lt"/>
                <a:ea typeface="+mn-ea"/>
                <a:cs typeface="Arial" pitchFamily="34" charset="0"/>
              </a:defRPr>
            </a:lvl4pPr>
            <a:lvl5pPr marL="1447113" indent="-228491">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dirty="0"/>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182915" y="6021143"/>
            <a:ext cx="1763728" cy="813816"/>
          </a:xfrm>
          <a:prstGeom prst="rect">
            <a:avLst/>
          </a:prstGeom>
        </p:spPr>
      </p:pic>
    </p:spTree>
    <p:extLst>
      <p:ext uri="{BB962C8B-B14F-4D97-AF65-F5344CB8AC3E}">
        <p14:creationId xmlns:p14="http://schemas.microsoft.com/office/powerpoint/2010/main" val="3899076491"/>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P4 Screen Capture 3:2 C">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stretch>
            <a:fillRect/>
          </a:stretch>
        </p:blipFill>
        <p:spPr>
          <a:xfrm>
            <a:off x="1652" y="1286899"/>
            <a:ext cx="8007876" cy="5564471"/>
          </a:xfrm>
          <a:prstGeom prst="rect">
            <a:avLst/>
          </a:prstGeom>
        </p:spPr>
      </p:pic>
      <p:sp>
        <p:nvSpPr>
          <p:cNvPr id="2" name="Title 1"/>
          <p:cNvSpPr>
            <a:spLocks noGrp="1"/>
          </p:cNvSpPr>
          <p:nvPr>
            <p:ph type="title"/>
          </p:nvPr>
        </p:nvSpPr>
        <p:spPr>
          <a:xfrm>
            <a:off x="381293" y="235035"/>
            <a:ext cx="11426462" cy="603538"/>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8F4B570A-51E4-4EB3-9912-6A48BAC3D5BE}" type="datetime1">
              <a:rPr lang="en-US" smtClean="0"/>
              <a:t>3/4/2019</a:t>
            </a:fld>
            <a:endParaRPr lang="en-US"/>
          </a:p>
        </p:txBody>
      </p:sp>
      <p:sp>
        <p:nvSpPr>
          <p:cNvPr id="5" name="Slide Number Placeholder 4"/>
          <p:cNvSpPr>
            <a:spLocks noGrp="1"/>
          </p:cNvSpPr>
          <p:nvPr>
            <p:ph type="sldNum" sz="quarter" idx="12"/>
          </p:nvPr>
        </p:nvSpPr>
        <p:spPr/>
        <p:txBody>
          <a:bodyPr/>
          <a:lstStyle/>
          <a:p>
            <a:fld id="{9373C030-8119-439B-A7A2-330B51F4C009}" type="slidenum">
              <a:rPr lang="en-US" smtClean="0"/>
              <a:pPr/>
              <a:t>‹#›</a:t>
            </a:fld>
            <a:endParaRPr lang="en-US"/>
          </a:p>
        </p:txBody>
      </p:sp>
      <p:sp>
        <p:nvSpPr>
          <p:cNvPr id="6" name="Content Placeholder 11"/>
          <p:cNvSpPr>
            <a:spLocks noGrp="1"/>
          </p:cNvSpPr>
          <p:nvPr>
            <p:ph sz="quarter" idx="13"/>
          </p:nvPr>
        </p:nvSpPr>
        <p:spPr>
          <a:xfrm>
            <a:off x="8184706" y="1561184"/>
            <a:ext cx="3623049" cy="4931036"/>
          </a:xfrm>
        </p:spPr>
        <p:txBody>
          <a:bodyPr/>
          <a:lstStyle>
            <a:lvl1pPr>
              <a:defRPr sz="1765"/>
            </a:lvl1pPr>
            <a:lvl2pPr>
              <a:defRPr sz="1568"/>
            </a:lvl2pPr>
            <a:lvl3pPr>
              <a:defRPr sz="1568"/>
            </a:lvl3pPr>
            <a:lvl4pPr>
              <a:defRPr sz="1568"/>
            </a:lvl4pPr>
            <a:lvl5pPr>
              <a:defRPr sz="1568"/>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8"/>
          <p:cNvSpPr>
            <a:spLocks noGrp="1" noChangeAspect="1"/>
          </p:cNvSpPr>
          <p:nvPr>
            <p:ph type="pic" sz="quarter" idx="14" hasCustomPrompt="1"/>
          </p:nvPr>
        </p:nvSpPr>
        <p:spPr>
          <a:xfrm>
            <a:off x="0" y="2162897"/>
            <a:ext cx="7147736" cy="4695104"/>
          </a:xfrm>
          <a:solidFill>
            <a:srgbClr val="00172A"/>
          </a:solidFill>
        </p:spPr>
        <p:txBody>
          <a:bodyPr lIns="1097280" tIns="0" rIns="1097280" bIns="1097280" anchor="b"/>
          <a:lstStyle>
            <a:lvl1pPr algn="ctr">
              <a:defRPr sz="1765" baseline="0">
                <a:solidFill>
                  <a:srgbClr val="C00000"/>
                </a:solidFill>
              </a:defRPr>
            </a:lvl1pPr>
          </a:lstStyle>
          <a:p>
            <a:r>
              <a:rPr lang="en-US"/>
              <a:t>Paste full screen grab here (3:2 aspect ratio). Position and scale using the image crop tool.</a:t>
            </a:r>
          </a:p>
        </p:txBody>
      </p:sp>
      <p:sp>
        <p:nvSpPr>
          <p:cNvPr id="12" name="Text Placeholder 2"/>
          <p:cNvSpPr>
            <a:spLocks noGrp="1"/>
          </p:cNvSpPr>
          <p:nvPr>
            <p:ph type="body" sz="quarter" idx="15"/>
          </p:nvPr>
        </p:nvSpPr>
        <p:spPr>
          <a:xfrm>
            <a:off x="381293" y="838962"/>
            <a:ext cx="3007457" cy="452654"/>
          </a:xfrm>
        </p:spPr>
        <p:txBody>
          <a:bodyPr wrap="none">
            <a:spAutoFit/>
          </a:bodyPr>
          <a:lstStyle>
            <a:lvl1pPr>
              <a:defRPr sz="2353">
                <a:gradFill>
                  <a:gsLst>
                    <a:gs pos="2917">
                      <a:schemeClr val="tx1">
                        <a:lumMod val="75000"/>
                      </a:schemeClr>
                    </a:gs>
                    <a:gs pos="100000">
                      <a:schemeClr val="tx1">
                        <a:lumMod val="75000"/>
                      </a:schemeClr>
                    </a:gs>
                  </a:gsLst>
                  <a:lin ang="5400000" scaled="0"/>
                </a:gradFill>
              </a:defRPr>
            </a:lvl1pPr>
          </a:lstStyle>
          <a:p>
            <a:pPr lvl="0"/>
            <a:r>
              <a:rPr lang="en-US"/>
              <a:t>Edit Master text styles</a:t>
            </a:r>
          </a:p>
        </p:txBody>
      </p:sp>
    </p:spTree>
    <p:extLst>
      <p:ext uri="{BB962C8B-B14F-4D97-AF65-F5344CB8AC3E}">
        <p14:creationId xmlns:p14="http://schemas.microsoft.com/office/powerpoint/2010/main" val="3608288094"/>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9"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9310" indent="0">
              <a:buNone/>
              <a:defRPr sz="2699" b="1"/>
            </a:lvl2pPr>
            <a:lvl3pPr marL="1218621" indent="0">
              <a:buNone/>
              <a:defRPr sz="2399" b="1"/>
            </a:lvl3pPr>
            <a:lvl4pPr marL="1827931" indent="0">
              <a:buNone/>
              <a:defRPr sz="2099" b="1"/>
            </a:lvl4pPr>
            <a:lvl5pPr marL="2437242" indent="0">
              <a:buNone/>
              <a:defRPr sz="2099" b="1"/>
            </a:lvl5pPr>
            <a:lvl6pPr marL="3046553" indent="0">
              <a:buNone/>
              <a:defRPr sz="2099" b="1"/>
            </a:lvl6pPr>
            <a:lvl7pPr marL="3655863" indent="0">
              <a:buNone/>
              <a:defRPr sz="2099" b="1"/>
            </a:lvl7pPr>
            <a:lvl8pPr marL="4265173" indent="0">
              <a:buNone/>
              <a:defRPr sz="2099" b="1"/>
            </a:lvl8pPr>
            <a:lvl9pPr marL="4874484" indent="0">
              <a:buNone/>
              <a:defRPr sz="2099" b="1"/>
            </a:lvl9pPr>
          </a:lstStyle>
          <a:p>
            <a:pPr lvl="0"/>
            <a:r>
              <a:rPr lang="en-US" dirty="0"/>
              <a:t>Click to edit Master text styles.</a:t>
            </a:r>
          </a:p>
        </p:txBody>
      </p:sp>
      <p:sp>
        <p:nvSpPr>
          <p:cNvPr id="9" name="Content Placeholder 5"/>
          <p:cNvSpPr>
            <a:spLocks noGrp="1"/>
          </p:cNvSpPr>
          <p:nvPr>
            <p:ph sz="quarter" idx="13"/>
          </p:nvPr>
        </p:nvSpPr>
        <p:spPr>
          <a:xfrm>
            <a:off x="6219711" y="2734985"/>
            <a:ext cx="5445583"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1"/>
                    </a:gs>
                    <a:gs pos="0">
                      <a:schemeClr val="bg1"/>
                    </a:gs>
                  </a:gsLst>
                  <a:lin ang="5400000" scaled="0"/>
                </a:gradFill>
                <a:latin typeface="+mn-lt"/>
                <a:ea typeface="+mn-ea"/>
                <a:cs typeface="Segoe UI" pitchFamily="34" charset="0"/>
              </a:defRPr>
            </a:lvl1pPr>
            <a:lvl2pPr marL="913966" indent="-380819">
              <a:defRPr lang="en-US" sz="2099" kern="1200" dirty="0" smtClean="0">
                <a:solidFill>
                  <a:schemeClr val="bg2">
                    <a:lumMod val="50000"/>
                  </a:schemeClr>
                </a:solidFill>
                <a:latin typeface="+mn-lt"/>
                <a:ea typeface="+mn-ea"/>
                <a:cs typeface="Arial" pitchFamily="34" charset="0"/>
              </a:defRPr>
            </a:lvl2pPr>
            <a:lvl3pPr marL="913966" indent="-228491">
              <a:defRPr lang="en-US" sz="1899" kern="1200" dirty="0" smtClean="0">
                <a:solidFill>
                  <a:schemeClr val="bg2">
                    <a:lumMod val="50000"/>
                  </a:schemeClr>
                </a:solidFill>
                <a:latin typeface="+mn-lt"/>
                <a:ea typeface="+mn-ea"/>
                <a:cs typeface="Arial" pitchFamily="34" charset="0"/>
              </a:defRPr>
            </a:lvl3pPr>
            <a:lvl4pPr marL="1218621" indent="-228491">
              <a:defRPr lang="en-US" sz="1600" kern="1200" dirty="0" smtClean="0">
                <a:solidFill>
                  <a:schemeClr val="bg2">
                    <a:lumMod val="50000"/>
                  </a:schemeClr>
                </a:solidFill>
                <a:latin typeface="+mn-lt"/>
                <a:ea typeface="+mn-ea"/>
                <a:cs typeface="Arial" pitchFamily="34" charset="0"/>
              </a:defRPr>
            </a:lvl4pPr>
            <a:lvl5pPr marL="1447113" indent="-228491">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dirty="0"/>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195967" y="6014916"/>
            <a:ext cx="1739313" cy="815899"/>
          </a:xfrm>
          <a:prstGeom prst="rect">
            <a:avLst/>
          </a:prstGeom>
        </p:spPr>
      </p:pic>
    </p:spTree>
    <p:extLst>
      <p:ext uri="{BB962C8B-B14F-4D97-AF65-F5344CB8AC3E}">
        <p14:creationId xmlns:p14="http://schemas.microsoft.com/office/powerpoint/2010/main" val="1510381036"/>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Quote ">
    <p:spTree>
      <p:nvGrpSpPr>
        <p:cNvPr id="1" name=""/>
        <p:cNvGrpSpPr/>
        <p:nvPr/>
      </p:nvGrpSpPr>
      <p:grpSpPr>
        <a:xfrm>
          <a:off x="0" y="0"/>
          <a:ext cx="0" cy="0"/>
          <a:chOff x="0" y="0"/>
          <a:chExt cx="0" cy="0"/>
        </a:xfrm>
      </p:grpSpPr>
      <p:sp>
        <p:nvSpPr>
          <p:cNvPr id="5" name="Content Placeholder 4"/>
          <p:cNvSpPr>
            <a:spLocks noGrp="1"/>
          </p:cNvSpPr>
          <p:nvPr>
            <p:ph sz="quarter" idx="11" hasCustomPrompt="1"/>
          </p:nvPr>
        </p:nvSpPr>
        <p:spPr>
          <a:xfrm>
            <a:off x="520837" y="1358056"/>
            <a:ext cx="11155093" cy="2863073"/>
          </a:xfrm>
          <a:prstGeom prst="rect">
            <a:avLst/>
          </a:prstGeom>
        </p:spPr>
        <p:txBody>
          <a:bodyPr>
            <a:normAutofit/>
          </a:bodyPr>
          <a:lstStyle>
            <a:lvl1pPr marL="0" indent="0">
              <a:lnSpc>
                <a:spcPct val="90000"/>
              </a:lnSpc>
              <a:buNone/>
              <a:defRPr sz="6398">
                <a:gradFill>
                  <a:gsLst>
                    <a:gs pos="100000">
                      <a:schemeClr val="tx2"/>
                    </a:gs>
                    <a:gs pos="0">
                      <a:schemeClr val="tx2"/>
                    </a:gs>
                  </a:gsLst>
                  <a:lin ang="5400000" scaled="0"/>
                </a:gradFill>
                <a:latin typeface="+mj-lt"/>
              </a:defRPr>
            </a:lvl1pPr>
            <a:lvl2pPr>
              <a:defRPr sz="6398">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gradFill>
                  <a:gsLst>
                    <a:gs pos="100000">
                      <a:srgbClr val="797A7D"/>
                    </a:gs>
                    <a:gs pos="0">
                      <a:srgbClr val="797A7D"/>
                    </a:gs>
                  </a:gsLst>
                  <a:lin ang="5400000" scaled="0"/>
                </a:gradFill>
              </a:rPr>
              <a:pPr/>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7" y="4343403"/>
            <a:ext cx="11155093" cy="470747"/>
          </a:xfrm>
          <a:prstGeom prst="rect">
            <a:avLst/>
          </a:prstGeom>
        </p:spPr>
        <p:txBody>
          <a:bodyPr>
            <a:normAutofit/>
          </a:bodyPr>
          <a:lstStyle>
            <a:lvl1pPr marL="0" indent="0">
              <a:lnSpc>
                <a:spcPct val="90000"/>
              </a:lnSpc>
              <a:buNone/>
              <a:defRPr sz="3599">
                <a:gradFill>
                  <a:gsLst>
                    <a:gs pos="100000">
                      <a:schemeClr val="bg2"/>
                    </a:gs>
                    <a:gs pos="0">
                      <a:schemeClr val="bg2"/>
                    </a:gs>
                  </a:gsLst>
                  <a:lin ang="5400000" scaled="0"/>
                </a:gradFill>
                <a:latin typeface="+mj-lt"/>
              </a:defRPr>
            </a:lvl1pPr>
            <a:lvl2pPr>
              <a:defRPr sz="6398">
                <a:solidFill>
                  <a:schemeClr val="tx2"/>
                </a:solidFill>
                <a:latin typeface="+mn-lt"/>
              </a:defRPr>
            </a:lvl2pPr>
          </a:lstStyle>
          <a:p>
            <a:pPr lvl="0"/>
            <a:r>
              <a:rPr lang="en-US" dirty="0"/>
              <a:t>Click to edit Master text styles</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182915" y="6021143"/>
            <a:ext cx="1763728" cy="813816"/>
          </a:xfrm>
          <a:prstGeom prst="rect">
            <a:avLst/>
          </a:prstGeom>
        </p:spPr>
      </p:pic>
    </p:spTree>
    <p:extLst>
      <p:ext uri="{BB962C8B-B14F-4D97-AF65-F5344CB8AC3E}">
        <p14:creationId xmlns:p14="http://schemas.microsoft.com/office/powerpoint/2010/main" val="1224644884"/>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2" y="857250"/>
            <a:ext cx="12192000"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7" y="1358056"/>
            <a:ext cx="11155093" cy="2863073"/>
          </a:xfrm>
          <a:prstGeom prst="rect">
            <a:avLst/>
          </a:prstGeom>
        </p:spPr>
        <p:txBody>
          <a:bodyPr>
            <a:normAutofit/>
          </a:bodyPr>
          <a:lstStyle>
            <a:lvl1pPr marL="0" indent="0">
              <a:lnSpc>
                <a:spcPct val="90000"/>
              </a:lnSpc>
              <a:buNone/>
              <a:defRPr sz="6398">
                <a:gradFill>
                  <a:gsLst>
                    <a:gs pos="100000">
                      <a:schemeClr val="bg1"/>
                    </a:gs>
                    <a:gs pos="0">
                      <a:schemeClr val="bg1"/>
                    </a:gs>
                  </a:gsLst>
                  <a:lin ang="5400000" scaled="0"/>
                </a:gradFill>
                <a:latin typeface="+mj-lt"/>
              </a:defRPr>
            </a:lvl1pPr>
            <a:lvl2pPr>
              <a:defRPr sz="6398">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gradFill>
                  <a:gsLst>
                    <a:gs pos="100000">
                      <a:srgbClr val="797A7D"/>
                    </a:gs>
                    <a:gs pos="0">
                      <a:srgbClr val="797A7D"/>
                    </a:gs>
                  </a:gsLst>
                  <a:lin ang="5400000" scaled="0"/>
                </a:gradFill>
              </a:rPr>
              <a:pPr/>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7" y="4343403"/>
            <a:ext cx="11155093" cy="470747"/>
          </a:xfrm>
          <a:prstGeom prst="rect">
            <a:avLst/>
          </a:prstGeom>
        </p:spPr>
        <p:txBody>
          <a:bodyPr>
            <a:normAutofit/>
          </a:bodyPr>
          <a:lstStyle>
            <a:lvl1pPr marL="0" indent="0">
              <a:lnSpc>
                <a:spcPct val="90000"/>
              </a:lnSpc>
              <a:buNone/>
              <a:defRPr sz="3599">
                <a:gradFill>
                  <a:gsLst>
                    <a:gs pos="100000">
                      <a:schemeClr val="bg1"/>
                    </a:gs>
                    <a:gs pos="0">
                      <a:schemeClr val="bg1"/>
                    </a:gs>
                  </a:gsLst>
                  <a:lin ang="5400000" scaled="0"/>
                </a:gradFill>
                <a:latin typeface="+mj-lt"/>
              </a:defRPr>
            </a:lvl1pPr>
            <a:lvl2pPr>
              <a:defRPr sz="6398">
                <a:solidFill>
                  <a:schemeClr val="tx2"/>
                </a:solidFill>
                <a:latin typeface="+mn-lt"/>
              </a:defRPr>
            </a:lvl2pPr>
          </a:lstStyle>
          <a:p>
            <a:pPr lvl="0"/>
            <a:r>
              <a:rPr lang="en-US" dirty="0"/>
              <a:t>Click to edit Master text styles</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182915" y="6021143"/>
            <a:ext cx="1763728" cy="813816"/>
          </a:xfrm>
          <a:prstGeom prst="rect">
            <a:avLst/>
          </a:prstGeom>
        </p:spPr>
      </p:pic>
    </p:spTree>
    <p:extLst>
      <p:ext uri="{BB962C8B-B14F-4D97-AF65-F5344CB8AC3E}">
        <p14:creationId xmlns:p14="http://schemas.microsoft.com/office/powerpoint/2010/main" val="911879471"/>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gradFill>
                  <a:gsLst>
                    <a:gs pos="100000">
                      <a:srgbClr val="797A7D"/>
                    </a:gs>
                    <a:gs pos="0">
                      <a:srgbClr val="797A7D"/>
                    </a:gs>
                  </a:gsLst>
                  <a:lin ang="5400000" scaled="0"/>
                </a:gradFill>
              </a:rPr>
              <a:pPr/>
              <a:t>‹#›</a:t>
            </a:fld>
            <a:endParaRPr lang="en-US" dirty="0">
              <a:gradFill>
                <a:gsLst>
                  <a:gs pos="100000">
                    <a:srgbClr val="797A7D"/>
                  </a:gs>
                  <a:gs pos="0">
                    <a:srgbClr val="797A7D"/>
                  </a:gs>
                </a:gsLst>
                <a:lin ang="5400000" scaled="0"/>
              </a:gradFill>
            </a:endParaRP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182915" y="6021143"/>
            <a:ext cx="1763728" cy="813816"/>
          </a:xfrm>
          <a:prstGeom prst="rect">
            <a:avLst/>
          </a:prstGeom>
        </p:spPr>
      </p:pic>
    </p:spTree>
    <p:extLst>
      <p:ext uri="{BB962C8B-B14F-4D97-AF65-F5344CB8AC3E}">
        <p14:creationId xmlns:p14="http://schemas.microsoft.com/office/powerpoint/2010/main" val="3251639424"/>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37690"/>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2"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endParaRPr lang="en-US" sz="1799"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4" y="1447803"/>
            <a:ext cx="11155093" cy="1988237"/>
          </a:xfrm>
        </p:spPr>
        <p:txBody>
          <a:bodyPr/>
          <a:lstStyle>
            <a:lvl1pPr marL="0" indent="0">
              <a:lnSpc>
                <a:spcPct val="95000"/>
              </a:lnSpc>
              <a:buNone/>
              <a:defRPr sz="3199">
                <a:gradFill>
                  <a:gsLst>
                    <a:gs pos="1250">
                      <a:srgbClr val="000000"/>
                    </a:gs>
                    <a:gs pos="100000">
                      <a:srgbClr val="000000"/>
                    </a:gs>
                  </a:gsLst>
                  <a:lin ang="5400000" scaled="0"/>
                </a:gradFill>
                <a:latin typeface="Consolas" pitchFamily="49" charset="0"/>
                <a:cs typeface="Consolas" pitchFamily="49" charset="0"/>
              </a:defRPr>
            </a:lvl1pPr>
            <a:lvl2pPr marL="33962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91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27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9979"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67565070"/>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7" y="228603"/>
            <a:ext cx="11155093" cy="664797"/>
          </a:xfrm>
        </p:spPr>
        <p:txBody>
          <a:bodyPr/>
          <a:lstStyle>
            <a:lvl1pPr>
              <a:defRPr sz="479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endParaRPr lang="en-US" dirty="0"/>
          </a:p>
        </p:txBody>
      </p:sp>
      <p:sp>
        <p:nvSpPr>
          <p:cNvPr id="6" name="Text Placeholder 5"/>
          <p:cNvSpPr>
            <a:spLocks noGrp="1"/>
          </p:cNvSpPr>
          <p:nvPr>
            <p:ph type="body" sz="quarter" idx="10" hasCustomPrompt="1"/>
          </p:nvPr>
        </p:nvSpPr>
        <p:spPr bwMode="white">
          <a:xfrm>
            <a:off x="519249" y="1447799"/>
            <a:ext cx="11151917" cy="2043636"/>
          </a:xfrm>
          <a:prstGeom prst="rect">
            <a:avLst/>
          </a:prstGeom>
        </p:spPr>
        <p:txBody>
          <a:bodyPr/>
          <a:lstStyle>
            <a:lvl1pPr marL="342797" indent="-34279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461" indent="-28566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126" indent="-28566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657" indent="-22853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189" indent="-22853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9"/>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599"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718049503"/>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2388" y="436568"/>
            <a:ext cx="11401219" cy="450123"/>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422388" y="1198568"/>
            <a:ext cx="11401219" cy="13378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92973" y="6344945"/>
            <a:ext cx="1371957" cy="436856"/>
          </a:xfrm>
          <a:prstGeom prst="rect">
            <a:avLst/>
          </a:prstGeom>
        </p:spPr>
      </p:pic>
    </p:spTree>
    <p:extLst>
      <p:ext uri="{BB962C8B-B14F-4D97-AF65-F5344CB8AC3E}">
        <p14:creationId xmlns:p14="http://schemas.microsoft.com/office/powerpoint/2010/main" val="317045644"/>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66638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2"/>
            <a:ext cx="11151917" cy="19735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5853550"/>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3"/>
            <a:ext cx="11151917" cy="66638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799"/>
            <a:ext cx="11151917" cy="2043636"/>
          </a:xfrm>
          <a:prstGeom prst="rect">
            <a:avLst/>
          </a:prstGeom>
        </p:spPr>
        <p:txBody>
          <a:bodyPr/>
          <a:lstStyle>
            <a:lvl1pPr marL="284078" indent="-284078">
              <a:buFont typeface="Wingdings" pitchFamily="2" charset="2"/>
              <a:buChar char=""/>
              <a:defRPr sz="3999"/>
            </a:lvl1pPr>
            <a:lvl2pPr marL="517370" indent="-233293">
              <a:buFont typeface="Wingdings" pitchFamily="2" charset="2"/>
              <a:buChar char=""/>
              <a:defRPr>
                <a:latin typeface="+mn-lt"/>
              </a:defRPr>
            </a:lvl2pPr>
            <a:lvl3pPr marL="741141" indent="-223771">
              <a:buFont typeface="Wingdings" pitchFamily="2" charset="2"/>
              <a:buChar char=""/>
              <a:tabLst/>
              <a:defRPr>
                <a:latin typeface="+mn-lt"/>
              </a:defRPr>
            </a:lvl3pPr>
            <a:lvl4pPr marL="914126" indent="-172986">
              <a:buFont typeface="Wingdings" pitchFamily="2" charset="2"/>
              <a:buChar char=""/>
              <a:defRPr>
                <a:latin typeface="+mn-lt"/>
              </a:defRPr>
            </a:lvl4pPr>
            <a:lvl5pPr marL="1087112" indent="-172986">
              <a:buFont typeface="Wingdings" pitchFamily="2" charset="2"/>
              <a:buChar char=""/>
              <a:tabLst/>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94795305"/>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urface Hub Screen Capture 16:9 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1" y="841148"/>
            <a:ext cx="6365750" cy="6014277"/>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6" name="Content Placeholder 11"/>
          <p:cNvSpPr>
            <a:spLocks noGrp="1"/>
          </p:cNvSpPr>
          <p:nvPr>
            <p:ph sz="quarter" idx="13"/>
          </p:nvPr>
        </p:nvSpPr>
        <p:spPr>
          <a:xfrm>
            <a:off x="6626736" y="1561184"/>
            <a:ext cx="5183973" cy="4931036"/>
          </a:xfrm>
        </p:spPr>
        <p:txBody>
          <a:bodyPr/>
          <a:lstStyle>
            <a:lvl1pPr>
              <a:spcBef>
                <a:spcPts val="1176"/>
              </a:spcBef>
              <a:defRPr sz="1568"/>
            </a:lvl1pPr>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noChangeAspect="1"/>
          </p:cNvSpPr>
          <p:nvPr>
            <p:ph type="pic" sz="quarter" idx="14" hasCustomPrompt="1"/>
          </p:nvPr>
        </p:nvSpPr>
        <p:spPr>
          <a:xfrm>
            <a:off x="814012" y="1561185"/>
            <a:ext cx="4851393" cy="2725812"/>
          </a:xfrm>
          <a:solidFill>
            <a:srgbClr val="00172A"/>
          </a:solidFill>
        </p:spPr>
        <p:txBody>
          <a:bodyPr tIns="0" rIns="0" bIns="1097280" anchor="b"/>
          <a:lstStyle>
            <a:lvl1pPr algn="ctr">
              <a:defRPr sz="1765" baseline="0">
                <a:solidFill>
                  <a:srgbClr val="C00000"/>
                </a:solidFill>
              </a:defRPr>
            </a:lvl1pPr>
          </a:lstStyle>
          <a:p>
            <a:r>
              <a:rPr lang="en-US"/>
              <a:t>Paste full screen grab here (16:9 aspect ratio)</a:t>
            </a:r>
          </a:p>
        </p:txBody>
      </p:sp>
      <p:sp>
        <p:nvSpPr>
          <p:cNvPr id="10" name="Text Placeholder 2"/>
          <p:cNvSpPr>
            <a:spLocks noGrp="1"/>
          </p:cNvSpPr>
          <p:nvPr>
            <p:ph type="body" sz="quarter" idx="15"/>
          </p:nvPr>
        </p:nvSpPr>
        <p:spPr>
          <a:xfrm>
            <a:off x="381293" y="838962"/>
            <a:ext cx="3007457" cy="452654"/>
          </a:xfrm>
        </p:spPr>
        <p:txBody>
          <a:bodyPr wrap="none">
            <a:spAutoFit/>
          </a:bodyPr>
          <a:lstStyle>
            <a:lvl1pPr>
              <a:defRPr lang="en-US" sz="2353" kern="1200" baseline="0" dirty="0">
                <a:gradFill>
                  <a:gsLst>
                    <a:gs pos="2917">
                      <a:schemeClr val="tx1">
                        <a:lumMod val="75000"/>
                      </a:schemeClr>
                    </a:gs>
                    <a:gs pos="100000">
                      <a:schemeClr val="tx1">
                        <a:lumMod val="75000"/>
                      </a:schemeClr>
                    </a:gs>
                  </a:gsLst>
                  <a:lin ang="5400000" scaled="0"/>
                </a:gradFill>
                <a:latin typeface="Segoe UI Semibold" panose="020B0702040204020203" pitchFamily="34" charset="0"/>
                <a:ea typeface="+mn-ea"/>
                <a:cs typeface="Segoe UI Semibold" panose="020B0702040204020203" pitchFamily="34" charset="0"/>
              </a:defRPr>
            </a:lvl1pPr>
          </a:lstStyle>
          <a:p>
            <a:pPr marL="0" lvl="0" indent="0" algn="l" defTabSz="914225" rtl="0" eaLnBrk="1" latinLnBrk="0" hangingPunct="1">
              <a:spcBef>
                <a:spcPts val="1765"/>
              </a:spcBef>
              <a:spcAft>
                <a:spcPts val="0"/>
              </a:spcAft>
              <a:buFont typeface="Arial" panose="020B0604020202020204" pitchFamily="34" charset="0"/>
              <a:buNone/>
            </a:pPr>
            <a:r>
              <a:rPr lang="en-US"/>
              <a:t>Edit Master text styles</a:t>
            </a:r>
          </a:p>
        </p:txBody>
      </p:sp>
      <p:sp>
        <p:nvSpPr>
          <p:cNvPr id="13" name="Date Placeholder 12"/>
          <p:cNvSpPr>
            <a:spLocks noGrp="1"/>
          </p:cNvSpPr>
          <p:nvPr>
            <p:ph type="dt" sz="half" idx="16"/>
          </p:nvPr>
        </p:nvSpPr>
        <p:spPr/>
        <p:txBody>
          <a:bodyPr/>
          <a:lstStyle/>
          <a:p>
            <a:fld id="{1D2D32A8-589E-43FB-959E-83D08376011F}" type="datetime1">
              <a:rPr lang="en-US" smtClean="0"/>
              <a:t>3/4/2019</a:t>
            </a:fld>
            <a:endParaRPr lang="en-US"/>
          </a:p>
        </p:txBody>
      </p:sp>
      <p:sp>
        <p:nvSpPr>
          <p:cNvPr id="14" name="Footer Placeholder 13"/>
          <p:cNvSpPr>
            <a:spLocks noGrp="1"/>
          </p:cNvSpPr>
          <p:nvPr>
            <p:ph type="ftr" sz="quarter" idx="17"/>
          </p:nvPr>
        </p:nvSpPr>
        <p:spPr/>
        <p:txBody>
          <a:bodyPr/>
          <a:lstStyle/>
          <a:p>
            <a:r>
              <a:rPr lang="en-US"/>
              <a:t>MICROSOFT CONFIDENTIAL Pre-release simulated screenshot shown, final experience may differ</a:t>
            </a:r>
          </a:p>
        </p:txBody>
      </p:sp>
      <p:sp>
        <p:nvSpPr>
          <p:cNvPr id="15" name="Slide Number Placeholder 14"/>
          <p:cNvSpPr>
            <a:spLocks noGrp="1"/>
          </p:cNvSpPr>
          <p:nvPr>
            <p:ph type="sldNum" sz="quarter" idx="18"/>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3245337444"/>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2"/>
                </a:solidFill>
              </a:defRPr>
            </a:lvl1pPr>
          </a:lstStyle>
          <a:p>
            <a:r>
              <a:rPr lang="en-US"/>
              <a:t>Click to edit Master title style</a:t>
            </a:r>
          </a:p>
        </p:txBody>
      </p:sp>
      <p:sp>
        <p:nvSpPr>
          <p:cNvPr id="3" name="Content Placeholder 2"/>
          <p:cNvSpPr>
            <a:spLocks noGrp="1"/>
          </p:cNvSpPr>
          <p:nvPr>
            <p:ph sz="half" idx="1"/>
          </p:nvPr>
        </p:nvSpPr>
        <p:spPr>
          <a:xfrm>
            <a:off x="609600" y="1600205"/>
            <a:ext cx="5384800" cy="4525963"/>
          </a:xfrm>
        </p:spPr>
        <p:txBody>
          <a:bodyPr/>
          <a:lstStyle>
            <a:lvl1pPr>
              <a:defRPr sz="3598">
                <a:solidFill>
                  <a:schemeClr val="tx1"/>
                </a:solidFill>
              </a:defRPr>
            </a:lvl1pPr>
            <a:lvl2pPr>
              <a:defRPr sz="2398">
                <a:solidFill>
                  <a:schemeClr val="tx1"/>
                </a:solidFill>
              </a:defRPr>
            </a:lvl2pPr>
            <a:lvl3pPr>
              <a:defRPr sz="2598"/>
            </a:lvl3pPr>
            <a:lvl4pPr>
              <a:defRPr sz="2298"/>
            </a:lvl4pPr>
            <a:lvl5pPr>
              <a:defRPr sz="2298"/>
            </a:lvl5pPr>
            <a:lvl6pPr>
              <a:defRPr sz="2298"/>
            </a:lvl6pPr>
            <a:lvl7pPr>
              <a:defRPr sz="2298"/>
            </a:lvl7pPr>
            <a:lvl8pPr>
              <a:defRPr sz="2298"/>
            </a:lvl8pPr>
            <a:lvl9pPr>
              <a:defRPr sz="2298"/>
            </a:lvl9pPr>
          </a:lstStyle>
          <a:p>
            <a:pPr lvl="0"/>
            <a:r>
              <a:rPr lang="en-US" dirty="0"/>
              <a:t>Click to edit Master text styles</a:t>
            </a:r>
          </a:p>
          <a:p>
            <a:pPr lvl="1"/>
            <a:r>
              <a:rPr lang="en-US" dirty="0"/>
              <a:t>Second level</a:t>
            </a:r>
          </a:p>
        </p:txBody>
      </p:sp>
      <p:sp>
        <p:nvSpPr>
          <p:cNvPr id="4" name="Content Placeholder 3"/>
          <p:cNvSpPr>
            <a:spLocks noGrp="1"/>
          </p:cNvSpPr>
          <p:nvPr>
            <p:ph sz="half" idx="2"/>
          </p:nvPr>
        </p:nvSpPr>
        <p:spPr>
          <a:xfrm>
            <a:off x="6197600" y="1600205"/>
            <a:ext cx="5384800" cy="4525963"/>
          </a:xfrm>
        </p:spPr>
        <p:txBody>
          <a:bodyPr/>
          <a:lstStyle>
            <a:lvl1pPr>
              <a:defRPr sz="3598">
                <a:solidFill>
                  <a:schemeClr val="tx1"/>
                </a:solidFill>
              </a:defRPr>
            </a:lvl1pPr>
            <a:lvl2pPr>
              <a:defRPr sz="2398">
                <a:solidFill>
                  <a:schemeClr val="tx1"/>
                </a:solidFill>
              </a:defRPr>
            </a:lvl2pPr>
            <a:lvl3pPr>
              <a:defRPr sz="2598"/>
            </a:lvl3pPr>
            <a:lvl4pPr>
              <a:defRPr sz="2298"/>
            </a:lvl4pPr>
            <a:lvl5pPr>
              <a:defRPr sz="2298"/>
            </a:lvl5pPr>
            <a:lvl6pPr>
              <a:defRPr sz="2298"/>
            </a:lvl6pPr>
            <a:lvl7pPr>
              <a:defRPr sz="2298"/>
            </a:lvl7pPr>
            <a:lvl8pPr>
              <a:defRPr sz="2298"/>
            </a:lvl8pPr>
            <a:lvl9pPr>
              <a:defRPr sz="2298"/>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87551385"/>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urface Hub Screen Capture 16:9 B">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192902" y="1333257"/>
            <a:ext cx="7914458" cy="4468568"/>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6" name="Content Placeholder 11"/>
          <p:cNvSpPr>
            <a:spLocks noGrp="1"/>
          </p:cNvSpPr>
          <p:nvPr>
            <p:ph sz="quarter" idx="13"/>
          </p:nvPr>
        </p:nvSpPr>
        <p:spPr>
          <a:xfrm>
            <a:off x="8187659" y="1561184"/>
            <a:ext cx="3623050" cy="4931036"/>
          </a:xfrm>
        </p:spPr>
        <p:txBody>
          <a:bodyPr/>
          <a:lstStyle>
            <a:lvl1pPr>
              <a:spcBef>
                <a:spcPts val="1176"/>
              </a:spcBef>
              <a:defRPr sz="1568"/>
            </a:lvl1pPr>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noChangeAspect="1"/>
          </p:cNvSpPr>
          <p:nvPr>
            <p:ph type="pic" sz="quarter" idx="14" hasCustomPrompt="1"/>
          </p:nvPr>
        </p:nvSpPr>
        <p:spPr>
          <a:xfrm>
            <a:off x="972869" y="1760784"/>
            <a:ext cx="6346043" cy="3565598"/>
          </a:xfrm>
          <a:solidFill>
            <a:srgbClr val="00172A"/>
          </a:solidFill>
        </p:spPr>
        <p:txBody>
          <a:bodyPr tIns="0" rIns="0" bIns="1097280" anchor="b"/>
          <a:lstStyle>
            <a:lvl1pPr algn="ctr">
              <a:defRPr sz="1765" baseline="0">
                <a:solidFill>
                  <a:srgbClr val="C00000"/>
                </a:solidFill>
              </a:defRPr>
            </a:lvl1pPr>
          </a:lstStyle>
          <a:p>
            <a:r>
              <a:rPr lang="en-US"/>
              <a:t>Paste full screen grab here (16:9 aspect ratio)</a:t>
            </a:r>
          </a:p>
        </p:txBody>
      </p:sp>
      <p:sp>
        <p:nvSpPr>
          <p:cNvPr id="10" name="Text Placeholder 2"/>
          <p:cNvSpPr>
            <a:spLocks noGrp="1"/>
          </p:cNvSpPr>
          <p:nvPr>
            <p:ph type="body" sz="quarter" idx="15"/>
          </p:nvPr>
        </p:nvSpPr>
        <p:spPr>
          <a:xfrm>
            <a:off x="381293" y="838962"/>
            <a:ext cx="3007457" cy="452654"/>
          </a:xfrm>
        </p:spPr>
        <p:txBody>
          <a:bodyPr wrap="none">
            <a:spAutoFit/>
          </a:bodyPr>
          <a:lstStyle>
            <a:lvl1pPr>
              <a:defRPr lang="en-US" sz="2353" kern="1200" baseline="0" dirty="0">
                <a:gradFill>
                  <a:gsLst>
                    <a:gs pos="2917">
                      <a:schemeClr val="tx1">
                        <a:lumMod val="75000"/>
                      </a:schemeClr>
                    </a:gs>
                    <a:gs pos="100000">
                      <a:schemeClr val="tx1">
                        <a:lumMod val="75000"/>
                      </a:schemeClr>
                    </a:gs>
                  </a:gsLst>
                  <a:lin ang="5400000" scaled="0"/>
                </a:gradFill>
                <a:latin typeface="Segoe UI Semibold" panose="020B0702040204020203" pitchFamily="34" charset="0"/>
                <a:ea typeface="+mn-ea"/>
                <a:cs typeface="Segoe UI Semibold" panose="020B0702040204020203" pitchFamily="34" charset="0"/>
              </a:defRPr>
            </a:lvl1pPr>
          </a:lstStyle>
          <a:p>
            <a:pPr marL="0" lvl="0" indent="0" algn="l" defTabSz="914225" rtl="0" eaLnBrk="1" latinLnBrk="0" hangingPunct="1">
              <a:spcBef>
                <a:spcPts val="1765"/>
              </a:spcBef>
              <a:spcAft>
                <a:spcPts val="0"/>
              </a:spcAft>
              <a:buFont typeface="Arial" panose="020B0604020202020204" pitchFamily="34" charset="0"/>
              <a:buNone/>
            </a:pPr>
            <a:r>
              <a:rPr lang="en-US"/>
              <a:t>Edit Master text styles</a:t>
            </a:r>
          </a:p>
        </p:txBody>
      </p:sp>
      <p:sp>
        <p:nvSpPr>
          <p:cNvPr id="13" name="Date Placeholder 12"/>
          <p:cNvSpPr>
            <a:spLocks noGrp="1"/>
          </p:cNvSpPr>
          <p:nvPr>
            <p:ph type="dt" sz="half" idx="16"/>
          </p:nvPr>
        </p:nvSpPr>
        <p:spPr/>
        <p:txBody>
          <a:bodyPr/>
          <a:lstStyle/>
          <a:p>
            <a:fld id="{EF4A89D4-83EA-4E49-A8B0-027F71E206C6}" type="datetime1">
              <a:rPr lang="en-US" smtClean="0"/>
              <a:t>3/4/2019</a:t>
            </a:fld>
            <a:endParaRPr lang="en-US"/>
          </a:p>
        </p:txBody>
      </p:sp>
      <p:sp>
        <p:nvSpPr>
          <p:cNvPr id="14" name="Footer Placeholder 13"/>
          <p:cNvSpPr>
            <a:spLocks noGrp="1"/>
          </p:cNvSpPr>
          <p:nvPr>
            <p:ph type="ftr" sz="quarter" idx="17"/>
          </p:nvPr>
        </p:nvSpPr>
        <p:spPr/>
        <p:txBody>
          <a:bodyPr/>
          <a:lstStyle/>
          <a:p>
            <a:r>
              <a:rPr lang="en-US"/>
              <a:t>MICROSOFT CONFIDENTIAL Pre-release simulated screenshot shown, final experience may differ</a:t>
            </a:r>
          </a:p>
        </p:txBody>
      </p:sp>
      <p:sp>
        <p:nvSpPr>
          <p:cNvPr id="15" name="Slide Number Placeholder 14"/>
          <p:cNvSpPr>
            <a:spLocks noGrp="1"/>
          </p:cNvSpPr>
          <p:nvPr>
            <p:ph type="sldNum" sz="quarter" idx="18"/>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1654529094"/>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ue Section Divider Lifestyle">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2" name="Title 1"/>
          <p:cNvSpPr>
            <a:spLocks noGrp="1"/>
          </p:cNvSpPr>
          <p:nvPr>
            <p:ph type="title" hasCustomPrompt="1"/>
          </p:nvPr>
        </p:nvSpPr>
        <p:spPr>
          <a:xfrm>
            <a:off x="381293" y="917254"/>
            <a:ext cx="5378549" cy="5023491"/>
          </a:xfrm>
        </p:spPr>
        <p:txBody>
          <a:bodyPr wrap="square" anchor="ctr"/>
          <a:lstStyle>
            <a:lvl1pPr>
              <a:defRPr sz="5294">
                <a:gradFill>
                  <a:gsLst>
                    <a:gs pos="2917">
                      <a:schemeClr val="bg1"/>
                    </a:gs>
                    <a:gs pos="100000">
                      <a:schemeClr val="bg1"/>
                    </a:gs>
                  </a:gsLst>
                  <a:lin ang="5400000" scaled="0"/>
                </a:gradFill>
                <a:latin typeface="Segoe UI Semilight" panose="020B0402040204020203" pitchFamily="34" charset="0"/>
                <a:cs typeface="Segoe UI Semilight" panose="020B0402040204020203" pitchFamily="34" charset="0"/>
              </a:defRPr>
            </a:lvl1pPr>
          </a:lstStyle>
          <a:p>
            <a:r>
              <a:rPr lang="en-US"/>
              <a:t>Click to add section divider titl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67807" y="6116477"/>
            <a:ext cx="1358520" cy="515207"/>
          </a:xfrm>
          <a:prstGeom prst="rect">
            <a:avLst/>
          </a:prstGeom>
        </p:spPr>
      </p:pic>
      <p:sp>
        <p:nvSpPr>
          <p:cNvPr id="8" name="Picture Placeholder 3"/>
          <p:cNvSpPr>
            <a:spLocks noGrp="1"/>
          </p:cNvSpPr>
          <p:nvPr>
            <p:ph type="pic" sz="quarter" idx="10"/>
          </p:nvPr>
        </p:nvSpPr>
        <p:spPr>
          <a:xfrm>
            <a:off x="6096001" y="0"/>
            <a:ext cx="6096000" cy="6858000"/>
          </a:xfrm>
          <a:blipFill>
            <a:blip r:embed="rId3"/>
            <a:stretch>
              <a:fillRect/>
            </a:stretch>
          </a:blipFill>
        </p:spPr>
        <p:txBody>
          <a:bodyPr anchor="ctr"/>
          <a:lstStyle>
            <a:lvl1pPr algn="ctr">
              <a:defRPr>
                <a:solidFill>
                  <a:schemeClr val="bg1">
                    <a:alpha val="0"/>
                  </a:schemeClr>
                </a:solidFill>
              </a:defRPr>
            </a:lvl1pPr>
          </a:lstStyle>
          <a:p>
            <a:endParaRPr lang="en-US"/>
          </a:p>
        </p:txBody>
      </p:sp>
    </p:spTree>
    <p:extLst>
      <p:ext uri="{BB962C8B-B14F-4D97-AF65-F5344CB8AC3E}">
        <p14:creationId xmlns:p14="http://schemas.microsoft.com/office/powerpoint/2010/main" val="2769078647"/>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ue Section Divider">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10" name="Freeform 7"/>
          <p:cNvSpPr>
            <a:spLocks/>
          </p:cNvSpPr>
          <p:nvPr userDrawn="1"/>
        </p:nvSpPr>
        <p:spPr bwMode="auto">
          <a:xfrm>
            <a:off x="8291571" y="4298630"/>
            <a:ext cx="431549" cy="473258"/>
          </a:xfrm>
          <a:custGeom>
            <a:avLst/>
            <a:gdLst>
              <a:gd name="T0" fmla="*/ 158 w 163"/>
              <a:gd name="T1" fmla="*/ 110 h 180"/>
              <a:gd name="T2" fmla="*/ 39 w 163"/>
              <a:gd name="T3" fmla="*/ 0 h 180"/>
              <a:gd name="T4" fmla="*/ 8 w 163"/>
              <a:gd name="T5" fmla="*/ 40 h 180"/>
              <a:gd name="T6" fmla="*/ 15 w 163"/>
              <a:gd name="T7" fmla="*/ 77 h 180"/>
              <a:gd name="T8" fmla="*/ 163 w 163"/>
              <a:gd name="T9" fmla="*/ 180 h 180"/>
              <a:gd name="T10" fmla="*/ 158 w 163"/>
              <a:gd name="T11" fmla="*/ 110 h 180"/>
            </a:gdLst>
            <a:ahLst/>
            <a:cxnLst>
              <a:cxn ang="0">
                <a:pos x="T0" y="T1"/>
              </a:cxn>
              <a:cxn ang="0">
                <a:pos x="T2" y="T3"/>
              </a:cxn>
              <a:cxn ang="0">
                <a:pos x="T4" y="T5"/>
              </a:cxn>
              <a:cxn ang="0">
                <a:pos x="T6" y="T7"/>
              </a:cxn>
              <a:cxn ang="0">
                <a:pos x="T8" y="T9"/>
              </a:cxn>
              <a:cxn ang="0">
                <a:pos x="T10" y="T11"/>
              </a:cxn>
            </a:cxnLst>
            <a:rect l="0" t="0" r="r" b="b"/>
            <a:pathLst>
              <a:path w="163" h="180">
                <a:moveTo>
                  <a:pt x="158" y="110"/>
                </a:moveTo>
                <a:cubicBezTo>
                  <a:pt x="39" y="0"/>
                  <a:pt x="39" y="0"/>
                  <a:pt x="39" y="0"/>
                </a:cubicBezTo>
                <a:cubicBezTo>
                  <a:pt x="8" y="40"/>
                  <a:pt x="8" y="40"/>
                  <a:pt x="8" y="40"/>
                </a:cubicBezTo>
                <a:cubicBezTo>
                  <a:pt x="0" y="52"/>
                  <a:pt x="3" y="69"/>
                  <a:pt x="15" y="77"/>
                </a:cubicBezTo>
                <a:cubicBezTo>
                  <a:pt x="163" y="180"/>
                  <a:pt x="163" y="180"/>
                  <a:pt x="163" y="180"/>
                </a:cubicBezTo>
                <a:lnTo>
                  <a:pt x="158" y="11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 name="Freeform 8"/>
          <p:cNvSpPr>
            <a:spLocks/>
          </p:cNvSpPr>
          <p:nvPr userDrawn="1"/>
        </p:nvSpPr>
        <p:spPr bwMode="auto">
          <a:xfrm>
            <a:off x="8371068" y="4298629"/>
            <a:ext cx="340696" cy="336960"/>
          </a:xfrm>
          <a:custGeom>
            <a:avLst/>
            <a:gdLst>
              <a:gd name="T0" fmla="*/ 89 w 90"/>
              <a:gd name="T1" fmla="*/ 76 h 89"/>
              <a:gd name="T2" fmla="*/ 6 w 90"/>
              <a:gd name="T3" fmla="*/ 0 h 89"/>
              <a:gd name="T4" fmla="*/ 0 w 90"/>
              <a:gd name="T5" fmla="*/ 8 h 89"/>
              <a:gd name="T6" fmla="*/ 90 w 90"/>
              <a:gd name="T7" fmla="*/ 89 h 89"/>
              <a:gd name="T8" fmla="*/ 89 w 90"/>
              <a:gd name="T9" fmla="*/ 76 h 89"/>
            </a:gdLst>
            <a:ahLst/>
            <a:cxnLst>
              <a:cxn ang="0">
                <a:pos x="T0" y="T1"/>
              </a:cxn>
              <a:cxn ang="0">
                <a:pos x="T2" y="T3"/>
              </a:cxn>
              <a:cxn ang="0">
                <a:pos x="T4" y="T5"/>
              </a:cxn>
              <a:cxn ang="0">
                <a:pos x="T6" y="T7"/>
              </a:cxn>
              <a:cxn ang="0">
                <a:pos x="T8" y="T9"/>
              </a:cxn>
            </a:cxnLst>
            <a:rect l="0" t="0" r="r" b="b"/>
            <a:pathLst>
              <a:path w="90" h="89">
                <a:moveTo>
                  <a:pt x="89" y="76"/>
                </a:moveTo>
                <a:lnTo>
                  <a:pt x="6" y="0"/>
                </a:lnTo>
                <a:lnTo>
                  <a:pt x="0" y="8"/>
                </a:lnTo>
                <a:lnTo>
                  <a:pt x="90" y="89"/>
                </a:lnTo>
                <a:lnTo>
                  <a:pt x="89" y="76"/>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 name="Freeform 9"/>
          <p:cNvSpPr>
            <a:spLocks/>
          </p:cNvSpPr>
          <p:nvPr userDrawn="1"/>
        </p:nvSpPr>
        <p:spPr bwMode="auto">
          <a:xfrm>
            <a:off x="8291571" y="4298630"/>
            <a:ext cx="132494" cy="212019"/>
          </a:xfrm>
          <a:custGeom>
            <a:avLst/>
            <a:gdLst>
              <a:gd name="T0" fmla="*/ 20 w 50"/>
              <a:gd name="T1" fmla="*/ 50 h 81"/>
              <a:gd name="T2" fmla="*/ 50 w 50"/>
              <a:gd name="T3" fmla="*/ 11 h 81"/>
              <a:gd name="T4" fmla="*/ 39 w 50"/>
              <a:gd name="T5" fmla="*/ 0 h 81"/>
              <a:gd name="T6" fmla="*/ 8 w 50"/>
              <a:gd name="T7" fmla="*/ 40 h 81"/>
              <a:gd name="T8" fmla="*/ 15 w 50"/>
              <a:gd name="T9" fmla="*/ 77 h 81"/>
              <a:gd name="T10" fmla="*/ 21 w 50"/>
              <a:gd name="T11" fmla="*/ 81 h 81"/>
              <a:gd name="T12" fmla="*/ 20 w 50"/>
              <a:gd name="T13" fmla="*/ 50 h 81"/>
            </a:gdLst>
            <a:ahLst/>
            <a:cxnLst>
              <a:cxn ang="0">
                <a:pos x="T0" y="T1"/>
              </a:cxn>
              <a:cxn ang="0">
                <a:pos x="T2" y="T3"/>
              </a:cxn>
              <a:cxn ang="0">
                <a:pos x="T4" y="T5"/>
              </a:cxn>
              <a:cxn ang="0">
                <a:pos x="T6" y="T7"/>
              </a:cxn>
              <a:cxn ang="0">
                <a:pos x="T8" y="T9"/>
              </a:cxn>
              <a:cxn ang="0">
                <a:pos x="T10" y="T11"/>
              </a:cxn>
              <a:cxn ang="0">
                <a:pos x="T12" y="T13"/>
              </a:cxn>
            </a:cxnLst>
            <a:rect l="0" t="0" r="r" b="b"/>
            <a:pathLst>
              <a:path w="50" h="81">
                <a:moveTo>
                  <a:pt x="20" y="50"/>
                </a:moveTo>
                <a:cubicBezTo>
                  <a:pt x="50" y="11"/>
                  <a:pt x="50" y="11"/>
                  <a:pt x="50" y="11"/>
                </a:cubicBezTo>
                <a:cubicBezTo>
                  <a:pt x="39" y="0"/>
                  <a:pt x="39" y="0"/>
                  <a:pt x="39" y="0"/>
                </a:cubicBezTo>
                <a:cubicBezTo>
                  <a:pt x="8" y="40"/>
                  <a:pt x="8" y="40"/>
                  <a:pt x="8" y="40"/>
                </a:cubicBezTo>
                <a:cubicBezTo>
                  <a:pt x="0" y="52"/>
                  <a:pt x="3" y="69"/>
                  <a:pt x="15" y="77"/>
                </a:cubicBezTo>
                <a:cubicBezTo>
                  <a:pt x="21" y="81"/>
                  <a:pt x="21" y="81"/>
                  <a:pt x="21" y="81"/>
                </a:cubicBezTo>
                <a:cubicBezTo>
                  <a:pt x="14" y="72"/>
                  <a:pt x="13" y="59"/>
                  <a:pt x="20" y="50"/>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 name="Freeform 10"/>
          <p:cNvSpPr>
            <a:spLocks/>
          </p:cNvSpPr>
          <p:nvPr userDrawn="1"/>
        </p:nvSpPr>
        <p:spPr bwMode="auto">
          <a:xfrm>
            <a:off x="8707978" y="5025551"/>
            <a:ext cx="140065" cy="71936"/>
          </a:xfrm>
          <a:custGeom>
            <a:avLst/>
            <a:gdLst>
              <a:gd name="T0" fmla="*/ 27 w 53"/>
              <a:gd name="T1" fmla="*/ 0 h 27"/>
              <a:gd name="T2" fmla="*/ 0 w 53"/>
              <a:gd name="T3" fmla="*/ 27 h 27"/>
              <a:gd name="T4" fmla="*/ 53 w 53"/>
              <a:gd name="T5" fmla="*/ 27 h 27"/>
              <a:gd name="T6" fmla="*/ 27 w 53"/>
              <a:gd name="T7" fmla="*/ 0 h 27"/>
            </a:gdLst>
            <a:ahLst/>
            <a:cxnLst>
              <a:cxn ang="0">
                <a:pos x="T0" y="T1"/>
              </a:cxn>
              <a:cxn ang="0">
                <a:pos x="T2" y="T3"/>
              </a:cxn>
              <a:cxn ang="0">
                <a:pos x="T4" y="T5"/>
              </a:cxn>
              <a:cxn ang="0">
                <a:pos x="T6" y="T7"/>
              </a:cxn>
            </a:cxnLst>
            <a:rect l="0" t="0" r="r" b="b"/>
            <a:pathLst>
              <a:path w="53" h="27">
                <a:moveTo>
                  <a:pt x="27" y="0"/>
                </a:moveTo>
                <a:cubicBezTo>
                  <a:pt x="12" y="0"/>
                  <a:pt x="0" y="12"/>
                  <a:pt x="0" y="27"/>
                </a:cubicBezTo>
                <a:cubicBezTo>
                  <a:pt x="53" y="27"/>
                  <a:pt x="53" y="27"/>
                  <a:pt x="53" y="27"/>
                </a:cubicBezTo>
                <a:cubicBezTo>
                  <a:pt x="53" y="12"/>
                  <a:pt x="42" y="0"/>
                  <a:pt x="27"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 name="Rectangle 11"/>
          <p:cNvSpPr>
            <a:spLocks noChangeArrowheads="1"/>
          </p:cNvSpPr>
          <p:nvPr userDrawn="1"/>
        </p:nvSpPr>
        <p:spPr bwMode="auto">
          <a:xfrm>
            <a:off x="8707978" y="5097485"/>
            <a:ext cx="140065" cy="19309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 name="Freeform 12"/>
          <p:cNvSpPr>
            <a:spLocks/>
          </p:cNvSpPr>
          <p:nvPr userDrawn="1"/>
        </p:nvSpPr>
        <p:spPr bwMode="auto">
          <a:xfrm>
            <a:off x="8685265" y="4461429"/>
            <a:ext cx="185492" cy="848075"/>
          </a:xfrm>
          <a:custGeom>
            <a:avLst/>
            <a:gdLst>
              <a:gd name="T0" fmla="*/ 49 w 70"/>
              <a:gd name="T1" fmla="*/ 311 h 322"/>
              <a:gd name="T2" fmla="*/ 35 w 70"/>
              <a:gd name="T3" fmla="*/ 322 h 322"/>
              <a:gd name="T4" fmla="*/ 21 w 70"/>
              <a:gd name="T5" fmla="*/ 311 h 322"/>
              <a:gd name="T6" fmla="*/ 0 w 70"/>
              <a:gd name="T7" fmla="*/ 0 h 322"/>
              <a:gd name="T8" fmla="*/ 70 w 70"/>
              <a:gd name="T9" fmla="*/ 0 h 322"/>
              <a:gd name="T10" fmla="*/ 49 w 70"/>
              <a:gd name="T11" fmla="*/ 311 h 322"/>
            </a:gdLst>
            <a:ahLst/>
            <a:cxnLst>
              <a:cxn ang="0">
                <a:pos x="T0" y="T1"/>
              </a:cxn>
              <a:cxn ang="0">
                <a:pos x="T2" y="T3"/>
              </a:cxn>
              <a:cxn ang="0">
                <a:pos x="T4" y="T5"/>
              </a:cxn>
              <a:cxn ang="0">
                <a:pos x="T6" y="T7"/>
              </a:cxn>
              <a:cxn ang="0">
                <a:pos x="T8" y="T9"/>
              </a:cxn>
              <a:cxn ang="0">
                <a:pos x="T10" y="T11"/>
              </a:cxn>
            </a:cxnLst>
            <a:rect l="0" t="0" r="r" b="b"/>
            <a:pathLst>
              <a:path w="70" h="322">
                <a:moveTo>
                  <a:pt x="49" y="311"/>
                </a:moveTo>
                <a:cubicBezTo>
                  <a:pt x="49" y="311"/>
                  <a:pt x="45" y="322"/>
                  <a:pt x="35" y="322"/>
                </a:cubicBezTo>
                <a:cubicBezTo>
                  <a:pt x="25" y="322"/>
                  <a:pt x="21" y="311"/>
                  <a:pt x="21" y="311"/>
                </a:cubicBezTo>
                <a:cubicBezTo>
                  <a:pt x="0" y="0"/>
                  <a:pt x="0" y="0"/>
                  <a:pt x="0" y="0"/>
                </a:cubicBezTo>
                <a:cubicBezTo>
                  <a:pt x="70" y="0"/>
                  <a:pt x="70" y="0"/>
                  <a:pt x="70" y="0"/>
                </a:cubicBezTo>
                <a:lnTo>
                  <a:pt x="49" y="31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6" name="Freeform 13"/>
          <p:cNvSpPr>
            <a:spLocks/>
          </p:cNvSpPr>
          <p:nvPr userDrawn="1"/>
        </p:nvSpPr>
        <p:spPr bwMode="auto">
          <a:xfrm>
            <a:off x="8779904" y="4461429"/>
            <a:ext cx="90852" cy="848075"/>
          </a:xfrm>
          <a:custGeom>
            <a:avLst/>
            <a:gdLst>
              <a:gd name="T0" fmla="*/ 0 w 35"/>
              <a:gd name="T1" fmla="*/ 322 h 322"/>
              <a:gd name="T2" fmla="*/ 14 w 35"/>
              <a:gd name="T3" fmla="*/ 311 h 322"/>
              <a:gd name="T4" fmla="*/ 35 w 35"/>
              <a:gd name="T5" fmla="*/ 0 h 322"/>
              <a:gd name="T6" fmla="*/ 29 w 35"/>
              <a:gd name="T7" fmla="*/ 15 h 322"/>
              <a:gd name="T8" fmla="*/ 0 w 35"/>
              <a:gd name="T9" fmla="*/ 322 h 322"/>
            </a:gdLst>
            <a:ahLst/>
            <a:cxnLst>
              <a:cxn ang="0">
                <a:pos x="T0" y="T1"/>
              </a:cxn>
              <a:cxn ang="0">
                <a:pos x="T2" y="T3"/>
              </a:cxn>
              <a:cxn ang="0">
                <a:pos x="T4" y="T5"/>
              </a:cxn>
              <a:cxn ang="0">
                <a:pos x="T6" y="T7"/>
              </a:cxn>
              <a:cxn ang="0">
                <a:pos x="T8" y="T9"/>
              </a:cxn>
            </a:cxnLst>
            <a:rect l="0" t="0" r="r" b="b"/>
            <a:pathLst>
              <a:path w="35" h="322">
                <a:moveTo>
                  <a:pt x="0" y="322"/>
                </a:moveTo>
                <a:cubicBezTo>
                  <a:pt x="10" y="322"/>
                  <a:pt x="14" y="311"/>
                  <a:pt x="14" y="311"/>
                </a:cubicBezTo>
                <a:cubicBezTo>
                  <a:pt x="35" y="0"/>
                  <a:pt x="35" y="0"/>
                  <a:pt x="35" y="0"/>
                </a:cubicBezTo>
                <a:cubicBezTo>
                  <a:pt x="29" y="15"/>
                  <a:pt x="29" y="15"/>
                  <a:pt x="29" y="15"/>
                </a:cubicBezTo>
                <a:cubicBezTo>
                  <a:pt x="29" y="15"/>
                  <a:pt x="6" y="321"/>
                  <a:pt x="0" y="32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7" name="Freeform 14"/>
          <p:cNvSpPr>
            <a:spLocks/>
          </p:cNvSpPr>
          <p:nvPr userDrawn="1"/>
        </p:nvSpPr>
        <p:spPr bwMode="auto">
          <a:xfrm>
            <a:off x="8685265" y="4461429"/>
            <a:ext cx="94639" cy="848075"/>
          </a:xfrm>
          <a:custGeom>
            <a:avLst/>
            <a:gdLst>
              <a:gd name="T0" fmla="*/ 35 w 35"/>
              <a:gd name="T1" fmla="*/ 322 h 322"/>
              <a:gd name="T2" fmla="*/ 21 w 35"/>
              <a:gd name="T3" fmla="*/ 311 h 322"/>
              <a:gd name="T4" fmla="*/ 0 w 35"/>
              <a:gd name="T5" fmla="*/ 0 h 322"/>
              <a:gd name="T6" fmla="*/ 6 w 35"/>
              <a:gd name="T7" fmla="*/ 15 h 322"/>
              <a:gd name="T8" fmla="*/ 35 w 35"/>
              <a:gd name="T9" fmla="*/ 322 h 322"/>
            </a:gdLst>
            <a:ahLst/>
            <a:cxnLst>
              <a:cxn ang="0">
                <a:pos x="T0" y="T1"/>
              </a:cxn>
              <a:cxn ang="0">
                <a:pos x="T2" y="T3"/>
              </a:cxn>
              <a:cxn ang="0">
                <a:pos x="T4" y="T5"/>
              </a:cxn>
              <a:cxn ang="0">
                <a:pos x="T6" y="T7"/>
              </a:cxn>
              <a:cxn ang="0">
                <a:pos x="T8" y="T9"/>
              </a:cxn>
            </a:cxnLst>
            <a:rect l="0" t="0" r="r" b="b"/>
            <a:pathLst>
              <a:path w="35" h="322">
                <a:moveTo>
                  <a:pt x="35" y="322"/>
                </a:moveTo>
                <a:cubicBezTo>
                  <a:pt x="25" y="322"/>
                  <a:pt x="21" y="311"/>
                  <a:pt x="21" y="311"/>
                </a:cubicBezTo>
                <a:cubicBezTo>
                  <a:pt x="0" y="0"/>
                  <a:pt x="0" y="0"/>
                  <a:pt x="0" y="0"/>
                </a:cubicBezTo>
                <a:cubicBezTo>
                  <a:pt x="6" y="15"/>
                  <a:pt x="6" y="15"/>
                  <a:pt x="6" y="15"/>
                </a:cubicBezTo>
                <a:cubicBezTo>
                  <a:pt x="6" y="15"/>
                  <a:pt x="29" y="321"/>
                  <a:pt x="35" y="322"/>
                </a:cubicBez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8" name="Freeform 15"/>
          <p:cNvSpPr>
            <a:spLocks/>
          </p:cNvSpPr>
          <p:nvPr userDrawn="1"/>
        </p:nvSpPr>
        <p:spPr bwMode="auto">
          <a:xfrm>
            <a:off x="8174222" y="4037392"/>
            <a:ext cx="1207580" cy="477042"/>
          </a:xfrm>
          <a:custGeom>
            <a:avLst/>
            <a:gdLst>
              <a:gd name="T0" fmla="*/ 0 w 458"/>
              <a:gd name="T1" fmla="*/ 19 h 182"/>
              <a:gd name="T2" fmla="*/ 229 w 458"/>
              <a:gd name="T3" fmla="*/ 182 h 182"/>
              <a:gd name="T4" fmla="*/ 458 w 458"/>
              <a:gd name="T5" fmla="*/ 19 h 182"/>
              <a:gd name="T6" fmla="*/ 226 w 458"/>
              <a:gd name="T7" fmla="*/ 0 h 182"/>
              <a:gd name="T8" fmla="*/ 0 w 458"/>
              <a:gd name="T9" fmla="*/ 19 h 182"/>
            </a:gdLst>
            <a:ahLst/>
            <a:cxnLst>
              <a:cxn ang="0">
                <a:pos x="T0" y="T1"/>
              </a:cxn>
              <a:cxn ang="0">
                <a:pos x="T2" y="T3"/>
              </a:cxn>
              <a:cxn ang="0">
                <a:pos x="T4" y="T5"/>
              </a:cxn>
              <a:cxn ang="0">
                <a:pos x="T6" y="T7"/>
              </a:cxn>
              <a:cxn ang="0">
                <a:pos x="T8" y="T9"/>
              </a:cxn>
            </a:cxnLst>
            <a:rect l="0" t="0" r="r" b="b"/>
            <a:pathLst>
              <a:path w="458" h="182">
                <a:moveTo>
                  <a:pt x="0" y="19"/>
                </a:moveTo>
                <a:cubicBezTo>
                  <a:pt x="20" y="88"/>
                  <a:pt x="76" y="182"/>
                  <a:pt x="229" y="182"/>
                </a:cubicBezTo>
                <a:cubicBezTo>
                  <a:pt x="381" y="182"/>
                  <a:pt x="438" y="88"/>
                  <a:pt x="458" y="19"/>
                </a:cubicBezTo>
                <a:cubicBezTo>
                  <a:pt x="226" y="0"/>
                  <a:pt x="226" y="0"/>
                  <a:pt x="226" y="0"/>
                </a:cubicBezTo>
                <a:lnTo>
                  <a:pt x="0" y="19"/>
                </a:lnTo>
                <a:close/>
              </a:path>
            </a:pathLst>
          </a:custGeom>
          <a:solidFill>
            <a:srgbClr val="001362"/>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19" name="Freeform 16"/>
          <p:cNvSpPr>
            <a:spLocks/>
          </p:cNvSpPr>
          <p:nvPr userDrawn="1"/>
        </p:nvSpPr>
        <p:spPr bwMode="auto">
          <a:xfrm>
            <a:off x="8670123" y="4037392"/>
            <a:ext cx="711676" cy="477042"/>
          </a:xfrm>
          <a:custGeom>
            <a:avLst/>
            <a:gdLst>
              <a:gd name="T0" fmla="*/ 38 w 270"/>
              <a:gd name="T1" fmla="*/ 0 h 181"/>
              <a:gd name="T2" fmla="*/ 270 w 270"/>
              <a:gd name="T3" fmla="*/ 19 h 181"/>
              <a:gd name="T4" fmla="*/ 58 w 270"/>
              <a:gd name="T5" fmla="*/ 181 h 181"/>
              <a:gd name="T6" fmla="*/ 231 w 270"/>
              <a:gd name="T7" fmla="*/ 23 h 181"/>
              <a:gd name="T8" fmla="*/ 0 w 270"/>
              <a:gd name="T9" fmla="*/ 5 h 181"/>
              <a:gd name="T10" fmla="*/ 38 w 270"/>
              <a:gd name="T11" fmla="*/ 0 h 181"/>
            </a:gdLst>
            <a:ahLst/>
            <a:cxnLst>
              <a:cxn ang="0">
                <a:pos x="T0" y="T1"/>
              </a:cxn>
              <a:cxn ang="0">
                <a:pos x="T2" y="T3"/>
              </a:cxn>
              <a:cxn ang="0">
                <a:pos x="T4" y="T5"/>
              </a:cxn>
              <a:cxn ang="0">
                <a:pos x="T6" y="T7"/>
              </a:cxn>
              <a:cxn ang="0">
                <a:pos x="T8" y="T9"/>
              </a:cxn>
              <a:cxn ang="0">
                <a:pos x="T10" y="T11"/>
              </a:cxn>
            </a:cxnLst>
            <a:rect l="0" t="0" r="r" b="b"/>
            <a:pathLst>
              <a:path w="270" h="181">
                <a:moveTo>
                  <a:pt x="38" y="0"/>
                </a:moveTo>
                <a:cubicBezTo>
                  <a:pt x="270" y="19"/>
                  <a:pt x="270" y="19"/>
                  <a:pt x="270" y="19"/>
                </a:cubicBezTo>
                <a:cubicBezTo>
                  <a:pt x="251" y="85"/>
                  <a:pt x="198" y="174"/>
                  <a:pt x="58" y="181"/>
                </a:cubicBezTo>
                <a:cubicBezTo>
                  <a:pt x="169" y="161"/>
                  <a:pt x="214" y="83"/>
                  <a:pt x="231" y="23"/>
                </a:cubicBezTo>
                <a:cubicBezTo>
                  <a:pt x="0" y="5"/>
                  <a:pt x="0" y="5"/>
                  <a:pt x="0" y="5"/>
                </a:cubicBezTo>
                <a:lnTo>
                  <a:pt x="38" y="0"/>
                </a:lnTo>
                <a:close/>
              </a:path>
            </a:pathLst>
          </a:custGeom>
          <a:solidFill>
            <a:srgbClr val="220C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0" name="Freeform 17"/>
          <p:cNvSpPr>
            <a:spLocks/>
          </p:cNvSpPr>
          <p:nvPr userDrawn="1"/>
        </p:nvSpPr>
        <p:spPr bwMode="auto">
          <a:xfrm>
            <a:off x="8700407" y="4881682"/>
            <a:ext cx="155207" cy="155229"/>
          </a:xfrm>
          <a:custGeom>
            <a:avLst/>
            <a:gdLst>
              <a:gd name="T0" fmla="*/ 56 w 60"/>
              <a:gd name="T1" fmla="*/ 60 h 60"/>
              <a:gd name="T2" fmla="*/ 54 w 60"/>
              <a:gd name="T3" fmla="*/ 59 h 60"/>
              <a:gd name="T4" fmla="*/ 1 w 60"/>
              <a:gd name="T5" fmla="*/ 6 h 60"/>
              <a:gd name="T6" fmla="*/ 1 w 60"/>
              <a:gd name="T7" fmla="*/ 1 h 60"/>
              <a:gd name="T8" fmla="*/ 6 w 60"/>
              <a:gd name="T9" fmla="*/ 1 h 60"/>
              <a:gd name="T10" fmla="*/ 59 w 60"/>
              <a:gd name="T11" fmla="*/ 54 h 60"/>
              <a:gd name="T12" fmla="*/ 59 w 60"/>
              <a:gd name="T13" fmla="*/ 59 h 60"/>
              <a:gd name="T14" fmla="*/ 56 w 60"/>
              <a:gd name="T15" fmla="*/ 6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60">
                <a:moveTo>
                  <a:pt x="56" y="60"/>
                </a:moveTo>
                <a:cubicBezTo>
                  <a:pt x="55" y="60"/>
                  <a:pt x="55" y="60"/>
                  <a:pt x="54" y="59"/>
                </a:cubicBezTo>
                <a:cubicBezTo>
                  <a:pt x="1" y="6"/>
                  <a:pt x="1" y="6"/>
                  <a:pt x="1" y="6"/>
                </a:cubicBezTo>
                <a:cubicBezTo>
                  <a:pt x="0" y="5"/>
                  <a:pt x="0" y="3"/>
                  <a:pt x="1" y="1"/>
                </a:cubicBezTo>
                <a:cubicBezTo>
                  <a:pt x="2" y="0"/>
                  <a:pt x="5" y="0"/>
                  <a:pt x="6" y="1"/>
                </a:cubicBezTo>
                <a:cubicBezTo>
                  <a:pt x="59" y="54"/>
                  <a:pt x="59" y="54"/>
                  <a:pt x="59" y="54"/>
                </a:cubicBezTo>
                <a:cubicBezTo>
                  <a:pt x="60" y="56"/>
                  <a:pt x="60" y="58"/>
                  <a:pt x="59" y="59"/>
                </a:cubicBezTo>
                <a:cubicBezTo>
                  <a:pt x="58" y="60"/>
                  <a:pt x="57" y="60"/>
                  <a:pt x="56" y="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1" name="Freeform 18"/>
          <p:cNvSpPr>
            <a:spLocks/>
          </p:cNvSpPr>
          <p:nvPr userDrawn="1"/>
        </p:nvSpPr>
        <p:spPr bwMode="auto">
          <a:xfrm>
            <a:off x="8700407" y="4881682"/>
            <a:ext cx="155207" cy="155229"/>
          </a:xfrm>
          <a:custGeom>
            <a:avLst/>
            <a:gdLst>
              <a:gd name="T0" fmla="*/ 4 w 60"/>
              <a:gd name="T1" fmla="*/ 60 h 60"/>
              <a:gd name="T2" fmla="*/ 1 w 60"/>
              <a:gd name="T3" fmla="*/ 59 h 60"/>
              <a:gd name="T4" fmla="*/ 1 w 60"/>
              <a:gd name="T5" fmla="*/ 54 h 60"/>
              <a:gd name="T6" fmla="*/ 54 w 60"/>
              <a:gd name="T7" fmla="*/ 1 h 60"/>
              <a:gd name="T8" fmla="*/ 59 w 60"/>
              <a:gd name="T9" fmla="*/ 1 h 60"/>
              <a:gd name="T10" fmla="*/ 59 w 60"/>
              <a:gd name="T11" fmla="*/ 6 h 60"/>
              <a:gd name="T12" fmla="*/ 6 w 60"/>
              <a:gd name="T13" fmla="*/ 59 h 60"/>
              <a:gd name="T14" fmla="*/ 4 w 60"/>
              <a:gd name="T15" fmla="*/ 6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60">
                <a:moveTo>
                  <a:pt x="4" y="60"/>
                </a:moveTo>
                <a:cubicBezTo>
                  <a:pt x="3" y="60"/>
                  <a:pt x="2" y="60"/>
                  <a:pt x="1" y="59"/>
                </a:cubicBezTo>
                <a:cubicBezTo>
                  <a:pt x="0" y="58"/>
                  <a:pt x="0" y="56"/>
                  <a:pt x="1" y="54"/>
                </a:cubicBezTo>
                <a:cubicBezTo>
                  <a:pt x="54" y="1"/>
                  <a:pt x="54" y="1"/>
                  <a:pt x="54" y="1"/>
                </a:cubicBezTo>
                <a:cubicBezTo>
                  <a:pt x="55" y="0"/>
                  <a:pt x="57" y="0"/>
                  <a:pt x="59" y="1"/>
                </a:cubicBezTo>
                <a:cubicBezTo>
                  <a:pt x="60" y="3"/>
                  <a:pt x="60" y="5"/>
                  <a:pt x="59" y="6"/>
                </a:cubicBezTo>
                <a:cubicBezTo>
                  <a:pt x="6" y="59"/>
                  <a:pt x="6" y="59"/>
                  <a:pt x="6" y="59"/>
                </a:cubicBezTo>
                <a:cubicBezTo>
                  <a:pt x="5" y="60"/>
                  <a:pt x="4" y="60"/>
                  <a:pt x="4" y="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2" name="Freeform 19"/>
          <p:cNvSpPr>
            <a:spLocks/>
          </p:cNvSpPr>
          <p:nvPr userDrawn="1"/>
        </p:nvSpPr>
        <p:spPr bwMode="auto">
          <a:xfrm>
            <a:off x="6853076" y="4469001"/>
            <a:ext cx="1173509" cy="662560"/>
          </a:xfrm>
          <a:custGeom>
            <a:avLst/>
            <a:gdLst>
              <a:gd name="T0" fmla="*/ 183 w 445"/>
              <a:gd name="T1" fmla="*/ 49 h 252"/>
              <a:gd name="T2" fmla="*/ 268 w 445"/>
              <a:gd name="T3" fmla="*/ 0 h 252"/>
              <a:gd name="T4" fmla="*/ 366 w 445"/>
              <a:gd name="T5" fmla="*/ 96 h 252"/>
              <a:gd name="T6" fmla="*/ 367 w 445"/>
              <a:gd name="T7" fmla="*/ 96 h 252"/>
              <a:gd name="T8" fmla="*/ 445 w 445"/>
              <a:gd name="T9" fmla="*/ 174 h 252"/>
              <a:gd name="T10" fmla="*/ 367 w 445"/>
              <a:gd name="T11" fmla="*/ 252 h 252"/>
              <a:gd name="T12" fmla="*/ 62 w 445"/>
              <a:gd name="T13" fmla="*/ 252 h 252"/>
              <a:gd name="T14" fmla="*/ 0 w 445"/>
              <a:gd name="T15" fmla="*/ 189 h 252"/>
              <a:gd name="T16" fmla="*/ 61 w 445"/>
              <a:gd name="T17" fmla="*/ 127 h 252"/>
              <a:gd name="T18" fmla="*/ 59 w 445"/>
              <a:gd name="T19" fmla="*/ 112 h 252"/>
              <a:gd name="T20" fmla="*/ 137 w 445"/>
              <a:gd name="T21" fmla="*/ 34 h 252"/>
              <a:gd name="T22" fmla="*/ 183 w 445"/>
              <a:gd name="T23" fmla="*/ 4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5" h="252">
                <a:moveTo>
                  <a:pt x="183" y="49"/>
                </a:moveTo>
                <a:cubicBezTo>
                  <a:pt x="200" y="20"/>
                  <a:pt x="232" y="0"/>
                  <a:pt x="268" y="0"/>
                </a:cubicBezTo>
                <a:cubicBezTo>
                  <a:pt x="322" y="0"/>
                  <a:pt x="365" y="43"/>
                  <a:pt x="366" y="96"/>
                </a:cubicBezTo>
                <a:cubicBezTo>
                  <a:pt x="367" y="96"/>
                  <a:pt x="367" y="96"/>
                  <a:pt x="367" y="96"/>
                </a:cubicBezTo>
                <a:cubicBezTo>
                  <a:pt x="410" y="96"/>
                  <a:pt x="445" y="131"/>
                  <a:pt x="445" y="174"/>
                </a:cubicBezTo>
                <a:cubicBezTo>
                  <a:pt x="445" y="217"/>
                  <a:pt x="410" y="252"/>
                  <a:pt x="367" y="252"/>
                </a:cubicBezTo>
                <a:cubicBezTo>
                  <a:pt x="62" y="252"/>
                  <a:pt x="62" y="252"/>
                  <a:pt x="62" y="252"/>
                </a:cubicBezTo>
                <a:cubicBezTo>
                  <a:pt x="28" y="252"/>
                  <a:pt x="0" y="224"/>
                  <a:pt x="0" y="189"/>
                </a:cubicBezTo>
                <a:cubicBezTo>
                  <a:pt x="0" y="155"/>
                  <a:pt x="27" y="128"/>
                  <a:pt x="61" y="127"/>
                </a:cubicBezTo>
                <a:cubicBezTo>
                  <a:pt x="60" y="122"/>
                  <a:pt x="59" y="117"/>
                  <a:pt x="59" y="112"/>
                </a:cubicBezTo>
                <a:cubicBezTo>
                  <a:pt x="59" y="69"/>
                  <a:pt x="94" y="34"/>
                  <a:pt x="137" y="34"/>
                </a:cubicBezTo>
                <a:cubicBezTo>
                  <a:pt x="154" y="34"/>
                  <a:pt x="171" y="39"/>
                  <a:pt x="183" y="49"/>
                </a:cubicBezTo>
              </a:path>
            </a:pathLst>
          </a:custGeom>
          <a:solidFill>
            <a:schemeClr val="bg1">
              <a:alpha val="60000"/>
            </a:schemeClr>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23" name="Freeform 20"/>
          <p:cNvSpPr>
            <a:spLocks/>
          </p:cNvSpPr>
          <p:nvPr userDrawn="1"/>
        </p:nvSpPr>
        <p:spPr bwMode="auto">
          <a:xfrm>
            <a:off x="6497238" y="4446284"/>
            <a:ext cx="382338" cy="215806"/>
          </a:xfrm>
          <a:custGeom>
            <a:avLst/>
            <a:gdLst>
              <a:gd name="T0" fmla="*/ 60 w 145"/>
              <a:gd name="T1" fmla="*/ 16 h 82"/>
              <a:gd name="T2" fmla="*/ 88 w 145"/>
              <a:gd name="T3" fmla="*/ 0 h 82"/>
              <a:gd name="T4" fmla="*/ 120 w 145"/>
              <a:gd name="T5" fmla="*/ 31 h 82"/>
              <a:gd name="T6" fmla="*/ 120 w 145"/>
              <a:gd name="T7" fmla="*/ 31 h 82"/>
              <a:gd name="T8" fmla="*/ 145 w 145"/>
              <a:gd name="T9" fmla="*/ 57 h 82"/>
              <a:gd name="T10" fmla="*/ 120 w 145"/>
              <a:gd name="T11" fmla="*/ 82 h 82"/>
              <a:gd name="T12" fmla="*/ 21 w 145"/>
              <a:gd name="T13" fmla="*/ 82 h 82"/>
              <a:gd name="T14" fmla="*/ 0 w 145"/>
              <a:gd name="T15" fmla="*/ 62 h 82"/>
              <a:gd name="T16" fmla="*/ 20 w 145"/>
              <a:gd name="T17" fmla="*/ 42 h 82"/>
              <a:gd name="T18" fmla="*/ 20 w 145"/>
              <a:gd name="T19" fmla="*/ 37 h 82"/>
              <a:gd name="T20" fmla="*/ 45 w 145"/>
              <a:gd name="T21" fmla="*/ 11 h 82"/>
              <a:gd name="T22" fmla="*/ 60 w 145"/>
              <a:gd name="T23" fmla="*/ 1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5" h="82">
                <a:moveTo>
                  <a:pt x="60" y="16"/>
                </a:moveTo>
                <a:cubicBezTo>
                  <a:pt x="66" y="7"/>
                  <a:pt x="76" y="0"/>
                  <a:pt x="88" y="0"/>
                </a:cubicBezTo>
                <a:cubicBezTo>
                  <a:pt x="105" y="0"/>
                  <a:pt x="119" y="14"/>
                  <a:pt x="120" y="31"/>
                </a:cubicBezTo>
                <a:cubicBezTo>
                  <a:pt x="120" y="31"/>
                  <a:pt x="120" y="31"/>
                  <a:pt x="120" y="31"/>
                </a:cubicBezTo>
                <a:cubicBezTo>
                  <a:pt x="134" y="31"/>
                  <a:pt x="145" y="43"/>
                  <a:pt x="145" y="57"/>
                </a:cubicBezTo>
                <a:cubicBezTo>
                  <a:pt x="145" y="71"/>
                  <a:pt x="134" y="82"/>
                  <a:pt x="120" y="82"/>
                </a:cubicBezTo>
                <a:cubicBezTo>
                  <a:pt x="21" y="82"/>
                  <a:pt x="21" y="82"/>
                  <a:pt x="21" y="82"/>
                </a:cubicBezTo>
                <a:cubicBezTo>
                  <a:pt x="9" y="82"/>
                  <a:pt x="0" y="73"/>
                  <a:pt x="0" y="62"/>
                </a:cubicBezTo>
                <a:cubicBezTo>
                  <a:pt x="0" y="51"/>
                  <a:pt x="9" y="42"/>
                  <a:pt x="20" y="42"/>
                </a:cubicBezTo>
                <a:cubicBezTo>
                  <a:pt x="20" y="40"/>
                  <a:pt x="20" y="38"/>
                  <a:pt x="20" y="37"/>
                </a:cubicBezTo>
                <a:cubicBezTo>
                  <a:pt x="20" y="23"/>
                  <a:pt x="31" y="11"/>
                  <a:pt x="45" y="11"/>
                </a:cubicBezTo>
                <a:cubicBezTo>
                  <a:pt x="51" y="11"/>
                  <a:pt x="56" y="13"/>
                  <a:pt x="60" y="16"/>
                </a:cubicBezTo>
              </a:path>
            </a:pathLst>
          </a:custGeom>
          <a:solidFill>
            <a:schemeClr val="bg1">
              <a:alpha val="60000"/>
            </a:schemeClr>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24" name="Freeform 21"/>
          <p:cNvSpPr>
            <a:spLocks/>
          </p:cNvSpPr>
          <p:nvPr userDrawn="1"/>
        </p:nvSpPr>
        <p:spPr bwMode="auto">
          <a:xfrm>
            <a:off x="4111320" y="4758455"/>
            <a:ext cx="7984601" cy="600270"/>
          </a:xfrm>
          <a:custGeom>
            <a:avLst/>
            <a:gdLst>
              <a:gd name="T0" fmla="*/ 2536 w 4269"/>
              <a:gd name="T1" fmla="*/ 322 h 322"/>
              <a:gd name="T2" fmla="*/ 0 w 4269"/>
              <a:gd name="T3" fmla="*/ 141 h 322"/>
              <a:gd name="T4" fmla="*/ 1 w 4269"/>
              <a:gd name="T5" fmla="*/ 134 h 322"/>
              <a:gd name="T6" fmla="*/ 2536 w 4269"/>
              <a:gd name="T7" fmla="*/ 314 h 322"/>
              <a:gd name="T8" fmla="*/ 3440 w 4269"/>
              <a:gd name="T9" fmla="*/ 224 h 322"/>
              <a:gd name="T10" fmla="*/ 4269 w 4269"/>
              <a:gd name="T11" fmla="*/ 0 h 322"/>
              <a:gd name="T12" fmla="*/ 3735 w 4269"/>
              <a:gd name="T13" fmla="*/ 141 h 322"/>
              <a:gd name="T14" fmla="*/ 3442 w 4269"/>
              <a:gd name="T15" fmla="*/ 231 h 322"/>
              <a:gd name="T16" fmla="*/ 2536 w 4269"/>
              <a:gd name="T17" fmla="*/ 32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9" h="322">
                <a:moveTo>
                  <a:pt x="2536" y="322"/>
                </a:moveTo>
                <a:cubicBezTo>
                  <a:pt x="1726" y="322"/>
                  <a:pt x="13" y="143"/>
                  <a:pt x="0" y="141"/>
                </a:cubicBezTo>
                <a:cubicBezTo>
                  <a:pt x="1" y="134"/>
                  <a:pt x="1" y="134"/>
                  <a:pt x="1" y="134"/>
                </a:cubicBezTo>
                <a:cubicBezTo>
                  <a:pt x="15" y="136"/>
                  <a:pt x="1727" y="314"/>
                  <a:pt x="2536" y="314"/>
                </a:cubicBezTo>
                <a:cubicBezTo>
                  <a:pt x="2769" y="314"/>
                  <a:pt x="3115" y="299"/>
                  <a:pt x="3440" y="224"/>
                </a:cubicBezTo>
                <a:cubicBezTo>
                  <a:pt x="3635" y="180"/>
                  <a:pt x="4268" y="0"/>
                  <a:pt x="4269" y="0"/>
                </a:cubicBezTo>
                <a:cubicBezTo>
                  <a:pt x="3735" y="141"/>
                  <a:pt x="3735" y="141"/>
                  <a:pt x="3735" y="141"/>
                </a:cubicBezTo>
                <a:cubicBezTo>
                  <a:pt x="3734" y="141"/>
                  <a:pt x="3637" y="187"/>
                  <a:pt x="3442" y="231"/>
                </a:cubicBezTo>
                <a:cubicBezTo>
                  <a:pt x="3263" y="272"/>
                  <a:pt x="2959" y="322"/>
                  <a:pt x="2536" y="322"/>
                </a:cubicBezTo>
                <a:close/>
              </a:path>
            </a:pathLst>
          </a:custGeom>
          <a:solidFill>
            <a:srgbClr val="001363"/>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25" name="Freeform 22"/>
          <p:cNvSpPr>
            <a:spLocks/>
          </p:cNvSpPr>
          <p:nvPr userDrawn="1"/>
        </p:nvSpPr>
        <p:spPr bwMode="auto">
          <a:xfrm>
            <a:off x="8707978" y="5290576"/>
            <a:ext cx="140065" cy="68149"/>
          </a:xfrm>
          <a:custGeom>
            <a:avLst/>
            <a:gdLst>
              <a:gd name="T0" fmla="*/ 27 w 53"/>
              <a:gd name="T1" fmla="*/ 26 h 26"/>
              <a:gd name="T2" fmla="*/ 53 w 53"/>
              <a:gd name="T3" fmla="*/ 0 h 26"/>
              <a:gd name="T4" fmla="*/ 0 w 53"/>
              <a:gd name="T5" fmla="*/ 0 h 26"/>
              <a:gd name="T6" fmla="*/ 27 w 53"/>
              <a:gd name="T7" fmla="*/ 26 h 26"/>
            </a:gdLst>
            <a:ahLst/>
            <a:cxnLst>
              <a:cxn ang="0">
                <a:pos x="T0" y="T1"/>
              </a:cxn>
              <a:cxn ang="0">
                <a:pos x="T2" y="T3"/>
              </a:cxn>
              <a:cxn ang="0">
                <a:pos x="T4" y="T5"/>
              </a:cxn>
              <a:cxn ang="0">
                <a:pos x="T6" y="T7"/>
              </a:cxn>
            </a:cxnLst>
            <a:rect l="0" t="0" r="r" b="b"/>
            <a:pathLst>
              <a:path w="53" h="26">
                <a:moveTo>
                  <a:pt x="27" y="26"/>
                </a:moveTo>
                <a:cubicBezTo>
                  <a:pt x="42" y="26"/>
                  <a:pt x="53" y="15"/>
                  <a:pt x="53" y="0"/>
                </a:cubicBezTo>
                <a:cubicBezTo>
                  <a:pt x="0" y="0"/>
                  <a:pt x="0" y="0"/>
                  <a:pt x="0" y="0"/>
                </a:cubicBezTo>
                <a:cubicBezTo>
                  <a:pt x="0" y="15"/>
                  <a:pt x="12" y="26"/>
                  <a:pt x="27" y="2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6" name="Freeform 23"/>
          <p:cNvSpPr>
            <a:spLocks/>
          </p:cNvSpPr>
          <p:nvPr userDrawn="1"/>
        </p:nvSpPr>
        <p:spPr bwMode="auto">
          <a:xfrm>
            <a:off x="8174222" y="4037392"/>
            <a:ext cx="730605" cy="98437"/>
          </a:xfrm>
          <a:custGeom>
            <a:avLst/>
            <a:gdLst>
              <a:gd name="T0" fmla="*/ 221 w 277"/>
              <a:gd name="T1" fmla="*/ 4 h 37"/>
              <a:gd name="T2" fmla="*/ 277 w 277"/>
              <a:gd name="T3" fmla="*/ 4 h 37"/>
              <a:gd name="T4" fmla="*/ 226 w 277"/>
              <a:gd name="T5" fmla="*/ 0 h 37"/>
              <a:gd name="T6" fmla="*/ 0 w 277"/>
              <a:gd name="T7" fmla="*/ 19 h 37"/>
              <a:gd name="T8" fmla="*/ 6 w 277"/>
              <a:gd name="T9" fmla="*/ 37 h 37"/>
              <a:gd name="T10" fmla="*/ 221 w 277"/>
              <a:gd name="T11" fmla="*/ 4 h 37"/>
            </a:gdLst>
            <a:ahLst/>
            <a:cxnLst>
              <a:cxn ang="0">
                <a:pos x="T0" y="T1"/>
              </a:cxn>
              <a:cxn ang="0">
                <a:pos x="T2" y="T3"/>
              </a:cxn>
              <a:cxn ang="0">
                <a:pos x="T4" y="T5"/>
              </a:cxn>
              <a:cxn ang="0">
                <a:pos x="T6" y="T7"/>
              </a:cxn>
              <a:cxn ang="0">
                <a:pos x="T8" y="T9"/>
              </a:cxn>
              <a:cxn ang="0">
                <a:pos x="T10" y="T11"/>
              </a:cxn>
            </a:cxnLst>
            <a:rect l="0" t="0" r="r" b="b"/>
            <a:pathLst>
              <a:path w="277" h="37">
                <a:moveTo>
                  <a:pt x="221" y="4"/>
                </a:moveTo>
                <a:cubicBezTo>
                  <a:pt x="277" y="4"/>
                  <a:pt x="277" y="4"/>
                  <a:pt x="277" y="4"/>
                </a:cubicBezTo>
                <a:cubicBezTo>
                  <a:pt x="226" y="0"/>
                  <a:pt x="226" y="0"/>
                  <a:pt x="226" y="0"/>
                </a:cubicBezTo>
                <a:cubicBezTo>
                  <a:pt x="0" y="19"/>
                  <a:pt x="0" y="19"/>
                  <a:pt x="0" y="19"/>
                </a:cubicBezTo>
                <a:cubicBezTo>
                  <a:pt x="2" y="25"/>
                  <a:pt x="4" y="31"/>
                  <a:pt x="6" y="37"/>
                </a:cubicBezTo>
                <a:lnTo>
                  <a:pt x="221" y="4"/>
                </a:lnTo>
                <a:close/>
              </a:path>
            </a:pathLst>
          </a:custGeom>
          <a:solidFill>
            <a:srgbClr val="8562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7" name="Freeform 24"/>
          <p:cNvSpPr>
            <a:spLocks/>
          </p:cNvSpPr>
          <p:nvPr userDrawn="1"/>
        </p:nvSpPr>
        <p:spPr bwMode="auto">
          <a:xfrm>
            <a:off x="8605771" y="1977780"/>
            <a:ext cx="204418" cy="94653"/>
          </a:xfrm>
          <a:custGeom>
            <a:avLst/>
            <a:gdLst>
              <a:gd name="T0" fmla="*/ 77 w 77"/>
              <a:gd name="T1" fmla="*/ 24 h 36"/>
              <a:gd name="T2" fmla="*/ 65 w 77"/>
              <a:gd name="T3" fmla="*/ 36 h 36"/>
              <a:gd name="T4" fmla="*/ 12 w 77"/>
              <a:gd name="T5" fmla="*/ 36 h 36"/>
              <a:gd name="T6" fmla="*/ 0 w 77"/>
              <a:gd name="T7" fmla="*/ 24 h 36"/>
              <a:gd name="T8" fmla="*/ 0 w 77"/>
              <a:gd name="T9" fmla="*/ 11 h 36"/>
              <a:gd name="T10" fmla="*/ 12 w 77"/>
              <a:gd name="T11" fmla="*/ 0 h 36"/>
              <a:gd name="T12" fmla="*/ 65 w 77"/>
              <a:gd name="T13" fmla="*/ 0 h 36"/>
              <a:gd name="T14" fmla="*/ 77 w 77"/>
              <a:gd name="T15" fmla="*/ 11 h 36"/>
              <a:gd name="T16" fmla="*/ 77 w 77"/>
              <a:gd name="T1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36">
                <a:moveTo>
                  <a:pt x="77" y="24"/>
                </a:moveTo>
                <a:cubicBezTo>
                  <a:pt x="77" y="31"/>
                  <a:pt x="71" y="36"/>
                  <a:pt x="65" y="36"/>
                </a:cubicBezTo>
                <a:cubicBezTo>
                  <a:pt x="12" y="36"/>
                  <a:pt x="12" y="36"/>
                  <a:pt x="12" y="36"/>
                </a:cubicBezTo>
                <a:cubicBezTo>
                  <a:pt x="6" y="36"/>
                  <a:pt x="0" y="31"/>
                  <a:pt x="0" y="24"/>
                </a:cubicBezTo>
                <a:cubicBezTo>
                  <a:pt x="0" y="11"/>
                  <a:pt x="0" y="11"/>
                  <a:pt x="0" y="11"/>
                </a:cubicBezTo>
                <a:cubicBezTo>
                  <a:pt x="0" y="5"/>
                  <a:pt x="6" y="0"/>
                  <a:pt x="12" y="0"/>
                </a:cubicBezTo>
                <a:cubicBezTo>
                  <a:pt x="65" y="0"/>
                  <a:pt x="65" y="0"/>
                  <a:pt x="65" y="0"/>
                </a:cubicBezTo>
                <a:cubicBezTo>
                  <a:pt x="71" y="0"/>
                  <a:pt x="77" y="5"/>
                  <a:pt x="77" y="11"/>
                </a:cubicBezTo>
                <a:lnTo>
                  <a:pt x="77" y="24"/>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8" name="Freeform 25"/>
          <p:cNvSpPr>
            <a:spLocks/>
          </p:cNvSpPr>
          <p:nvPr userDrawn="1"/>
        </p:nvSpPr>
        <p:spPr bwMode="auto">
          <a:xfrm>
            <a:off x="8745833" y="1977780"/>
            <a:ext cx="64355" cy="242307"/>
          </a:xfrm>
          <a:custGeom>
            <a:avLst/>
            <a:gdLst>
              <a:gd name="T0" fmla="*/ 12 w 24"/>
              <a:gd name="T1" fmla="*/ 0 h 92"/>
              <a:gd name="T2" fmla="*/ 0 w 24"/>
              <a:gd name="T3" fmla="*/ 0 h 92"/>
              <a:gd name="T4" fmla="*/ 12 w 24"/>
              <a:gd name="T5" fmla="*/ 11 h 92"/>
              <a:gd name="T6" fmla="*/ 12 w 24"/>
              <a:gd name="T7" fmla="*/ 80 h 92"/>
              <a:gd name="T8" fmla="*/ 0 w 24"/>
              <a:gd name="T9" fmla="*/ 92 h 92"/>
              <a:gd name="T10" fmla="*/ 12 w 24"/>
              <a:gd name="T11" fmla="*/ 92 h 92"/>
              <a:gd name="T12" fmla="*/ 24 w 24"/>
              <a:gd name="T13" fmla="*/ 80 h 92"/>
              <a:gd name="T14" fmla="*/ 24 w 24"/>
              <a:gd name="T15" fmla="*/ 11 h 92"/>
              <a:gd name="T16" fmla="*/ 12 w 24"/>
              <a:gd name="T1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92">
                <a:moveTo>
                  <a:pt x="12" y="0"/>
                </a:moveTo>
                <a:cubicBezTo>
                  <a:pt x="0" y="0"/>
                  <a:pt x="0" y="0"/>
                  <a:pt x="0" y="0"/>
                </a:cubicBezTo>
                <a:cubicBezTo>
                  <a:pt x="7" y="0"/>
                  <a:pt x="12" y="5"/>
                  <a:pt x="12" y="11"/>
                </a:cubicBezTo>
                <a:cubicBezTo>
                  <a:pt x="12" y="80"/>
                  <a:pt x="12" y="80"/>
                  <a:pt x="12" y="80"/>
                </a:cubicBezTo>
                <a:cubicBezTo>
                  <a:pt x="12" y="86"/>
                  <a:pt x="7" y="92"/>
                  <a:pt x="0" y="92"/>
                </a:cubicBezTo>
                <a:cubicBezTo>
                  <a:pt x="12" y="92"/>
                  <a:pt x="12" y="92"/>
                  <a:pt x="12" y="92"/>
                </a:cubicBezTo>
                <a:cubicBezTo>
                  <a:pt x="18" y="92"/>
                  <a:pt x="24" y="86"/>
                  <a:pt x="24" y="80"/>
                </a:cubicBezTo>
                <a:cubicBezTo>
                  <a:pt x="24" y="11"/>
                  <a:pt x="24" y="11"/>
                  <a:pt x="24" y="11"/>
                </a:cubicBezTo>
                <a:cubicBezTo>
                  <a:pt x="24" y="5"/>
                  <a:pt x="18" y="0"/>
                  <a:pt x="12" y="0"/>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9" name="Freeform 26"/>
          <p:cNvSpPr>
            <a:spLocks/>
          </p:cNvSpPr>
          <p:nvPr userDrawn="1"/>
        </p:nvSpPr>
        <p:spPr bwMode="auto">
          <a:xfrm>
            <a:off x="8514917" y="2011856"/>
            <a:ext cx="389909" cy="242307"/>
          </a:xfrm>
          <a:custGeom>
            <a:avLst/>
            <a:gdLst>
              <a:gd name="T0" fmla="*/ 147 w 147"/>
              <a:gd name="T1" fmla="*/ 80 h 92"/>
              <a:gd name="T2" fmla="*/ 135 w 147"/>
              <a:gd name="T3" fmla="*/ 92 h 92"/>
              <a:gd name="T4" fmla="*/ 12 w 147"/>
              <a:gd name="T5" fmla="*/ 92 h 92"/>
              <a:gd name="T6" fmla="*/ 0 w 147"/>
              <a:gd name="T7" fmla="*/ 80 h 92"/>
              <a:gd name="T8" fmla="*/ 0 w 147"/>
              <a:gd name="T9" fmla="*/ 12 h 92"/>
              <a:gd name="T10" fmla="*/ 12 w 147"/>
              <a:gd name="T11" fmla="*/ 0 h 92"/>
              <a:gd name="T12" fmla="*/ 135 w 147"/>
              <a:gd name="T13" fmla="*/ 0 h 92"/>
              <a:gd name="T14" fmla="*/ 147 w 147"/>
              <a:gd name="T15" fmla="*/ 12 h 92"/>
              <a:gd name="T16" fmla="*/ 147 w 147"/>
              <a:gd name="T17" fmla="*/ 8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92">
                <a:moveTo>
                  <a:pt x="147" y="80"/>
                </a:moveTo>
                <a:cubicBezTo>
                  <a:pt x="147" y="87"/>
                  <a:pt x="142" y="92"/>
                  <a:pt x="135" y="92"/>
                </a:cubicBezTo>
                <a:cubicBezTo>
                  <a:pt x="12" y="92"/>
                  <a:pt x="12" y="92"/>
                  <a:pt x="12" y="92"/>
                </a:cubicBezTo>
                <a:cubicBezTo>
                  <a:pt x="6" y="92"/>
                  <a:pt x="0" y="87"/>
                  <a:pt x="0" y="80"/>
                </a:cubicBezTo>
                <a:cubicBezTo>
                  <a:pt x="0" y="12"/>
                  <a:pt x="0" y="12"/>
                  <a:pt x="0" y="12"/>
                </a:cubicBezTo>
                <a:cubicBezTo>
                  <a:pt x="0" y="5"/>
                  <a:pt x="6" y="0"/>
                  <a:pt x="12" y="0"/>
                </a:cubicBezTo>
                <a:cubicBezTo>
                  <a:pt x="135" y="0"/>
                  <a:pt x="135" y="0"/>
                  <a:pt x="135" y="0"/>
                </a:cubicBezTo>
                <a:cubicBezTo>
                  <a:pt x="142" y="0"/>
                  <a:pt x="147" y="5"/>
                  <a:pt x="147" y="12"/>
                </a:cubicBezTo>
                <a:lnTo>
                  <a:pt x="147" y="8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30" name="Freeform 27"/>
          <p:cNvSpPr>
            <a:spLocks/>
          </p:cNvSpPr>
          <p:nvPr userDrawn="1"/>
        </p:nvSpPr>
        <p:spPr bwMode="auto">
          <a:xfrm>
            <a:off x="8844257" y="2011856"/>
            <a:ext cx="60568" cy="242307"/>
          </a:xfrm>
          <a:custGeom>
            <a:avLst/>
            <a:gdLst>
              <a:gd name="T0" fmla="*/ 11 w 23"/>
              <a:gd name="T1" fmla="*/ 0 h 92"/>
              <a:gd name="T2" fmla="*/ 0 w 23"/>
              <a:gd name="T3" fmla="*/ 0 h 92"/>
              <a:gd name="T4" fmla="*/ 11 w 23"/>
              <a:gd name="T5" fmla="*/ 12 h 92"/>
              <a:gd name="T6" fmla="*/ 11 w 23"/>
              <a:gd name="T7" fmla="*/ 80 h 92"/>
              <a:gd name="T8" fmla="*/ 0 w 23"/>
              <a:gd name="T9" fmla="*/ 92 h 92"/>
              <a:gd name="T10" fmla="*/ 11 w 23"/>
              <a:gd name="T11" fmla="*/ 92 h 92"/>
              <a:gd name="T12" fmla="*/ 23 w 23"/>
              <a:gd name="T13" fmla="*/ 80 h 92"/>
              <a:gd name="T14" fmla="*/ 23 w 23"/>
              <a:gd name="T15" fmla="*/ 12 h 92"/>
              <a:gd name="T16" fmla="*/ 11 w 23"/>
              <a:gd name="T1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92">
                <a:moveTo>
                  <a:pt x="11" y="0"/>
                </a:moveTo>
                <a:cubicBezTo>
                  <a:pt x="0" y="0"/>
                  <a:pt x="0" y="0"/>
                  <a:pt x="0" y="0"/>
                </a:cubicBezTo>
                <a:cubicBezTo>
                  <a:pt x="6" y="0"/>
                  <a:pt x="11" y="5"/>
                  <a:pt x="11" y="12"/>
                </a:cubicBezTo>
                <a:cubicBezTo>
                  <a:pt x="11" y="80"/>
                  <a:pt x="11" y="80"/>
                  <a:pt x="11" y="80"/>
                </a:cubicBezTo>
                <a:cubicBezTo>
                  <a:pt x="11" y="87"/>
                  <a:pt x="6" y="92"/>
                  <a:pt x="0" y="92"/>
                </a:cubicBezTo>
                <a:cubicBezTo>
                  <a:pt x="11" y="92"/>
                  <a:pt x="11" y="92"/>
                  <a:pt x="11" y="92"/>
                </a:cubicBezTo>
                <a:cubicBezTo>
                  <a:pt x="18" y="92"/>
                  <a:pt x="23" y="87"/>
                  <a:pt x="23" y="80"/>
                </a:cubicBezTo>
                <a:cubicBezTo>
                  <a:pt x="23" y="12"/>
                  <a:pt x="23" y="12"/>
                  <a:pt x="23" y="12"/>
                </a:cubicBezTo>
                <a:cubicBezTo>
                  <a:pt x="23" y="5"/>
                  <a:pt x="18" y="0"/>
                  <a:pt x="11" y="0"/>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31" name="Oval 28"/>
          <p:cNvSpPr>
            <a:spLocks noChangeArrowheads="1"/>
          </p:cNvSpPr>
          <p:nvPr userDrawn="1"/>
        </p:nvSpPr>
        <p:spPr bwMode="auto">
          <a:xfrm>
            <a:off x="8609555" y="2045928"/>
            <a:ext cx="177920" cy="177946"/>
          </a:xfrm>
          <a:prstGeom prst="ellipse">
            <a:avLst/>
          </a:pr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32" name="Oval 29"/>
          <p:cNvSpPr>
            <a:spLocks noChangeArrowheads="1"/>
          </p:cNvSpPr>
          <p:nvPr userDrawn="1"/>
        </p:nvSpPr>
        <p:spPr bwMode="auto">
          <a:xfrm>
            <a:off x="8620912" y="2053500"/>
            <a:ext cx="155207" cy="1590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33" name="Freeform 30"/>
          <p:cNvSpPr>
            <a:spLocks/>
          </p:cNvSpPr>
          <p:nvPr userDrawn="1"/>
        </p:nvSpPr>
        <p:spPr bwMode="auto">
          <a:xfrm>
            <a:off x="8639839" y="2053500"/>
            <a:ext cx="136278" cy="136298"/>
          </a:xfrm>
          <a:custGeom>
            <a:avLst/>
            <a:gdLst>
              <a:gd name="T0" fmla="*/ 51 w 51"/>
              <a:gd name="T1" fmla="*/ 30 h 51"/>
              <a:gd name="T2" fmla="*/ 21 w 51"/>
              <a:gd name="T3" fmla="*/ 0 h 51"/>
              <a:gd name="T4" fmla="*/ 0 w 51"/>
              <a:gd name="T5" fmla="*/ 9 h 51"/>
              <a:gd name="T6" fmla="*/ 42 w 51"/>
              <a:gd name="T7" fmla="*/ 51 h 51"/>
              <a:gd name="T8" fmla="*/ 51 w 51"/>
              <a:gd name="T9" fmla="*/ 30 h 51"/>
            </a:gdLst>
            <a:ahLst/>
            <a:cxnLst>
              <a:cxn ang="0">
                <a:pos x="T0" y="T1"/>
              </a:cxn>
              <a:cxn ang="0">
                <a:pos x="T2" y="T3"/>
              </a:cxn>
              <a:cxn ang="0">
                <a:pos x="T4" y="T5"/>
              </a:cxn>
              <a:cxn ang="0">
                <a:pos x="T6" y="T7"/>
              </a:cxn>
              <a:cxn ang="0">
                <a:pos x="T8" y="T9"/>
              </a:cxn>
            </a:cxnLst>
            <a:rect l="0" t="0" r="r" b="b"/>
            <a:pathLst>
              <a:path w="51" h="51">
                <a:moveTo>
                  <a:pt x="51" y="30"/>
                </a:moveTo>
                <a:cubicBezTo>
                  <a:pt x="51" y="14"/>
                  <a:pt x="38" y="0"/>
                  <a:pt x="21" y="0"/>
                </a:cubicBezTo>
                <a:cubicBezTo>
                  <a:pt x="13" y="0"/>
                  <a:pt x="6" y="4"/>
                  <a:pt x="0" y="9"/>
                </a:cubicBezTo>
                <a:cubicBezTo>
                  <a:pt x="42" y="51"/>
                  <a:pt x="42" y="51"/>
                  <a:pt x="42" y="51"/>
                </a:cubicBezTo>
                <a:cubicBezTo>
                  <a:pt x="48" y="46"/>
                  <a:pt x="51" y="38"/>
                  <a:pt x="51"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34" name="Oval 31"/>
          <p:cNvSpPr>
            <a:spLocks noChangeArrowheads="1"/>
          </p:cNvSpPr>
          <p:nvPr userDrawn="1"/>
        </p:nvSpPr>
        <p:spPr bwMode="auto">
          <a:xfrm>
            <a:off x="8719335" y="2102720"/>
            <a:ext cx="18928" cy="1893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35" name="Rectangle 32"/>
          <p:cNvSpPr>
            <a:spLocks noChangeArrowheads="1"/>
          </p:cNvSpPr>
          <p:nvPr userDrawn="1"/>
        </p:nvSpPr>
        <p:spPr bwMode="auto">
          <a:xfrm>
            <a:off x="8787475" y="2038355"/>
            <a:ext cx="56784" cy="34076"/>
          </a:xfrm>
          <a:prstGeom prst="rect">
            <a:avLst/>
          </a:prstGeom>
          <a:solidFill>
            <a:srgbClr val="B400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36" name="Rectangle 33"/>
          <p:cNvSpPr>
            <a:spLocks noChangeArrowheads="1"/>
          </p:cNvSpPr>
          <p:nvPr userDrawn="1"/>
        </p:nvSpPr>
        <p:spPr bwMode="auto">
          <a:xfrm>
            <a:off x="8787475" y="2038355"/>
            <a:ext cx="18928" cy="34076"/>
          </a:xfrm>
          <a:prstGeom prst="rect">
            <a:avLst/>
          </a:prstGeom>
          <a:solidFill>
            <a:srgbClr val="C740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37" name="Oval 34"/>
          <p:cNvSpPr>
            <a:spLocks noChangeArrowheads="1"/>
          </p:cNvSpPr>
          <p:nvPr userDrawn="1"/>
        </p:nvSpPr>
        <p:spPr bwMode="auto">
          <a:xfrm>
            <a:off x="8643625" y="2080004"/>
            <a:ext cx="109781" cy="109796"/>
          </a:xfrm>
          <a:prstGeom prst="ellipse">
            <a:avLst/>
          </a:pr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38" name="Freeform 35"/>
          <p:cNvSpPr>
            <a:spLocks/>
          </p:cNvSpPr>
          <p:nvPr userDrawn="1"/>
        </p:nvSpPr>
        <p:spPr bwMode="auto">
          <a:xfrm>
            <a:off x="8620912" y="2080004"/>
            <a:ext cx="132494" cy="132513"/>
          </a:xfrm>
          <a:custGeom>
            <a:avLst/>
            <a:gdLst>
              <a:gd name="T0" fmla="*/ 8 w 50"/>
              <a:gd name="T1" fmla="*/ 0 h 51"/>
              <a:gd name="T2" fmla="*/ 0 w 50"/>
              <a:gd name="T3" fmla="*/ 21 h 51"/>
              <a:gd name="T4" fmla="*/ 29 w 50"/>
              <a:gd name="T5" fmla="*/ 51 h 51"/>
              <a:gd name="T6" fmla="*/ 50 w 50"/>
              <a:gd name="T7" fmla="*/ 42 h 51"/>
              <a:gd name="T8" fmla="*/ 44 w 50"/>
              <a:gd name="T9" fmla="*/ 36 h 51"/>
              <a:gd name="T10" fmla="*/ 29 w 50"/>
              <a:gd name="T11" fmla="*/ 42 h 51"/>
              <a:gd name="T12" fmla="*/ 9 w 50"/>
              <a:gd name="T13" fmla="*/ 21 h 51"/>
              <a:gd name="T14" fmla="*/ 15 w 50"/>
              <a:gd name="T15" fmla="*/ 7 h 51"/>
              <a:gd name="T16" fmla="*/ 8 w 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1">
                <a:moveTo>
                  <a:pt x="8" y="0"/>
                </a:moveTo>
                <a:cubicBezTo>
                  <a:pt x="3" y="5"/>
                  <a:pt x="0" y="13"/>
                  <a:pt x="0" y="21"/>
                </a:cubicBezTo>
                <a:cubicBezTo>
                  <a:pt x="0" y="38"/>
                  <a:pt x="13" y="51"/>
                  <a:pt x="29" y="51"/>
                </a:cubicBezTo>
                <a:cubicBezTo>
                  <a:pt x="37" y="51"/>
                  <a:pt x="45" y="48"/>
                  <a:pt x="50" y="42"/>
                </a:cubicBezTo>
                <a:cubicBezTo>
                  <a:pt x="44" y="36"/>
                  <a:pt x="44" y="36"/>
                  <a:pt x="44" y="36"/>
                </a:cubicBezTo>
                <a:cubicBezTo>
                  <a:pt x="40" y="39"/>
                  <a:pt x="35" y="42"/>
                  <a:pt x="29" y="42"/>
                </a:cubicBezTo>
                <a:cubicBezTo>
                  <a:pt x="18" y="42"/>
                  <a:pt x="9" y="32"/>
                  <a:pt x="9" y="21"/>
                </a:cubicBezTo>
                <a:cubicBezTo>
                  <a:pt x="9" y="15"/>
                  <a:pt x="11" y="10"/>
                  <a:pt x="15" y="7"/>
                </a:cubicBezTo>
                <a:cubicBezTo>
                  <a:pt x="8" y="0"/>
                  <a:pt x="8" y="0"/>
                  <a:pt x="8" y="0"/>
                </a:cubicBezTo>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39" name="Freeform 36"/>
          <p:cNvSpPr>
            <a:spLocks/>
          </p:cNvSpPr>
          <p:nvPr userDrawn="1"/>
        </p:nvSpPr>
        <p:spPr bwMode="auto">
          <a:xfrm>
            <a:off x="8643625" y="2098933"/>
            <a:ext cx="90852" cy="90865"/>
          </a:xfrm>
          <a:custGeom>
            <a:avLst/>
            <a:gdLst>
              <a:gd name="T0" fmla="*/ 6 w 35"/>
              <a:gd name="T1" fmla="*/ 0 h 35"/>
              <a:gd name="T2" fmla="*/ 0 w 35"/>
              <a:gd name="T3" fmla="*/ 14 h 35"/>
              <a:gd name="T4" fmla="*/ 20 w 35"/>
              <a:gd name="T5" fmla="*/ 35 h 35"/>
              <a:gd name="T6" fmla="*/ 35 w 35"/>
              <a:gd name="T7" fmla="*/ 29 h 35"/>
              <a:gd name="T8" fmla="*/ 6 w 35"/>
              <a:gd name="T9" fmla="*/ 0 h 35"/>
            </a:gdLst>
            <a:ahLst/>
            <a:cxnLst>
              <a:cxn ang="0">
                <a:pos x="T0" y="T1"/>
              </a:cxn>
              <a:cxn ang="0">
                <a:pos x="T2" y="T3"/>
              </a:cxn>
              <a:cxn ang="0">
                <a:pos x="T4" y="T5"/>
              </a:cxn>
              <a:cxn ang="0">
                <a:pos x="T6" y="T7"/>
              </a:cxn>
              <a:cxn ang="0">
                <a:pos x="T8" y="T9"/>
              </a:cxn>
            </a:cxnLst>
            <a:rect l="0" t="0" r="r" b="b"/>
            <a:pathLst>
              <a:path w="35" h="35">
                <a:moveTo>
                  <a:pt x="6" y="0"/>
                </a:moveTo>
                <a:cubicBezTo>
                  <a:pt x="2" y="3"/>
                  <a:pt x="0" y="8"/>
                  <a:pt x="0" y="14"/>
                </a:cubicBezTo>
                <a:cubicBezTo>
                  <a:pt x="0" y="25"/>
                  <a:pt x="9" y="35"/>
                  <a:pt x="20" y="35"/>
                </a:cubicBezTo>
                <a:cubicBezTo>
                  <a:pt x="26" y="35"/>
                  <a:pt x="31" y="32"/>
                  <a:pt x="35" y="29"/>
                </a:cubicBezTo>
                <a:cubicBezTo>
                  <a:pt x="6" y="0"/>
                  <a:pt x="6" y="0"/>
                  <a:pt x="6" y="0"/>
                </a:cubicBezTo>
              </a:path>
            </a:pathLst>
          </a:custGeom>
          <a:solidFill>
            <a:srgbClr val="A50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0" name="Freeform 37"/>
          <p:cNvSpPr>
            <a:spLocks/>
          </p:cNvSpPr>
          <p:nvPr userDrawn="1"/>
        </p:nvSpPr>
        <p:spPr bwMode="auto">
          <a:xfrm>
            <a:off x="9820918" y="3261252"/>
            <a:ext cx="71926" cy="253666"/>
          </a:xfrm>
          <a:custGeom>
            <a:avLst/>
            <a:gdLst>
              <a:gd name="T0" fmla="*/ 15 w 27"/>
              <a:gd name="T1" fmla="*/ 0 h 96"/>
              <a:gd name="T2" fmla="*/ 0 w 27"/>
              <a:gd name="T3" fmla="*/ 0 h 96"/>
              <a:gd name="T4" fmla="*/ 12 w 27"/>
              <a:gd name="T5" fmla="*/ 14 h 96"/>
              <a:gd name="T6" fmla="*/ 11 w 27"/>
              <a:gd name="T7" fmla="*/ 96 h 96"/>
              <a:gd name="T8" fmla="*/ 27 w 27"/>
              <a:gd name="T9" fmla="*/ 96 h 96"/>
              <a:gd name="T10" fmla="*/ 27 w 27"/>
              <a:gd name="T11" fmla="*/ 28 h 96"/>
              <a:gd name="T12" fmla="*/ 27 w 27"/>
              <a:gd name="T13" fmla="*/ 28 h 96"/>
              <a:gd name="T14" fmla="*/ 27 w 27"/>
              <a:gd name="T15" fmla="*/ 13 h 96"/>
              <a:gd name="T16" fmla="*/ 15 w 27"/>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96">
                <a:moveTo>
                  <a:pt x="15" y="0"/>
                </a:moveTo>
                <a:cubicBezTo>
                  <a:pt x="0" y="0"/>
                  <a:pt x="0" y="0"/>
                  <a:pt x="0" y="0"/>
                </a:cubicBezTo>
                <a:cubicBezTo>
                  <a:pt x="6" y="2"/>
                  <a:pt x="12" y="7"/>
                  <a:pt x="12" y="14"/>
                </a:cubicBezTo>
                <a:cubicBezTo>
                  <a:pt x="11" y="96"/>
                  <a:pt x="11" y="96"/>
                  <a:pt x="11" y="96"/>
                </a:cubicBezTo>
                <a:cubicBezTo>
                  <a:pt x="27" y="96"/>
                  <a:pt x="27" y="96"/>
                  <a:pt x="27" y="96"/>
                </a:cubicBezTo>
                <a:cubicBezTo>
                  <a:pt x="27" y="28"/>
                  <a:pt x="27" y="28"/>
                  <a:pt x="27" y="28"/>
                </a:cubicBezTo>
                <a:cubicBezTo>
                  <a:pt x="27" y="28"/>
                  <a:pt x="27" y="28"/>
                  <a:pt x="27" y="28"/>
                </a:cubicBezTo>
                <a:cubicBezTo>
                  <a:pt x="27" y="13"/>
                  <a:pt x="27" y="13"/>
                  <a:pt x="27" y="13"/>
                </a:cubicBezTo>
                <a:cubicBezTo>
                  <a:pt x="26" y="7"/>
                  <a:pt x="22" y="2"/>
                  <a:pt x="15" y="0"/>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1" name="Freeform 38"/>
          <p:cNvSpPr>
            <a:spLocks/>
          </p:cNvSpPr>
          <p:nvPr userDrawn="1"/>
        </p:nvSpPr>
        <p:spPr bwMode="auto">
          <a:xfrm>
            <a:off x="9820918" y="3514916"/>
            <a:ext cx="71926" cy="75721"/>
          </a:xfrm>
          <a:custGeom>
            <a:avLst/>
            <a:gdLst>
              <a:gd name="T0" fmla="*/ 12 w 28"/>
              <a:gd name="T1" fmla="*/ 0 h 29"/>
              <a:gd name="T2" fmla="*/ 12 w 28"/>
              <a:gd name="T3" fmla="*/ 14 h 29"/>
              <a:gd name="T4" fmla="*/ 0 w 28"/>
              <a:gd name="T5" fmla="*/ 28 h 29"/>
              <a:gd name="T6" fmla="*/ 1 w 28"/>
              <a:gd name="T7" fmla="*/ 29 h 29"/>
              <a:gd name="T8" fmla="*/ 16 w 28"/>
              <a:gd name="T9" fmla="*/ 28 h 29"/>
              <a:gd name="T10" fmla="*/ 28 w 28"/>
              <a:gd name="T11" fmla="*/ 14 h 29"/>
              <a:gd name="T12" fmla="*/ 28 w 28"/>
              <a:gd name="T13" fmla="*/ 0 h 29"/>
              <a:gd name="T14" fmla="*/ 12 w 2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9">
                <a:moveTo>
                  <a:pt x="12" y="0"/>
                </a:moveTo>
                <a:cubicBezTo>
                  <a:pt x="12" y="14"/>
                  <a:pt x="12" y="14"/>
                  <a:pt x="12" y="14"/>
                </a:cubicBezTo>
                <a:cubicBezTo>
                  <a:pt x="12" y="21"/>
                  <a:pt x="7" y="27"/>
                  <a:pt x="0" y="28"/>
                </a:cubicBezTo>
                <a:cubicBezTo>
                  <a:pt x="1" y="29"/>
                  <a:pt x="1" y="29"/>
                  <a:pt x="1" y="29"/>
                </a:cubicBezTo>
                <a:cubicBezTo>
                  <a:pt x="16" y="28"/>
                  <a:pt x="16" y="28"/>
                  <a:pt x="16" y="28"/>
                </a:cubicBezTo>
                <a:cubicBezTo>
                  <a:pt x="23" y="27"/>
                  <a:pt x="28" y="21"/>
                  <a:pt x="28" y="14"/>
                </a:cubicBezTo>
                <a:cubicBezTo>
                  <a:pt x="28" y="0"/>
                  <a:pt x="28" y="0"/>
                  <a:pt x="28" y="0"/>
                </a:cubicBezTo>
                <a:lnTo>
                  <a:pt x="12" y="0"/>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2" name="Freeform 39"/>
          <p:cNvSpPr>
            <a:spLocks/>
          </p:cNvSpPr>
          <p:nvPr userDrawn="1"/>
        </p:nvSpPr>
        <p:spPr bwMode="auto">
          <a:xfrm>
            <a:off x="9571075" y="3514916"/>
            <a:ext cx="291486" cy="75721"/>
          </a:xfrm>
          <a:custGeom>
            <a:avLst/>
            <a:gdLst>
              <a:gd name="T0" fmla="*/ 0 w 110"/>
              <a:gd name="T1" fmla="*/ 14 h 29"/>
              <a:gd name="T2" fmla="*/ 15 w 110"/>
              <a:gd name="T3" fmla="*/ 29 h 29"/>
              <a:gd name="T4" fmla="*/ 96 w 110"/>
              <a:gd name="T5" fmla="*/ 29 h 29"/>
              <a:gd name="T6" fmla="*/ 110 w 110"/>
              <a:gd name="T7" fmla="*/ 14 h 29"/>
              <a:gd name="T8" fmla="*/ 110 w 110"/>
              <a:gd name="T9" fmla="*/ 0 h 29"/>
              <a:gd name="T10" fmla="*/ 0 w 110"/>
              <a:gd name="T11" fmla="*/ 0 h 29"/>
              <a:gd name="T12" fmla="*/ 0 w 110"/>
              <a:gd name="T13" fmla="*/ 14 h 29"/>
            </a:gdLst>
            <a:ahLst/>
            <a:cxnLst>
              <a:cxn ang="0">
                <a:pos x="T0" y="T1"/>
              </a:cxn>
              <a:cxn ang="0">
                <a:pos x="T2" y="T3"/>
              </a:cxn>
              <a:cxn ang="0">
                <a:pos x="T4" y="T5"/>
              </a:cxn>
              <a:cxn ang="0">
                <a:pos x="T6" y="T7"/>
              </a:cxn>
              <a:cxn ang="0">
                <a:pos x="T8" y="T9"/>
              </a:cxn>
              <a:cxn ang="0">
                <a:pos x="T10" y="T11"/>
              </a:cxn>
              <a:cxn ang="0">
                <a:pos x="T12" y="T13"/>
              </a:cxn>
            </a:cxnLst>
            <a:rect l="0" t="0" r="r" b="b"/>
            <a:pathLst>
              <a:path w="110" h="29">
                <a:moveTo>
                  <a:pt x="0" y="14"/>
                </a:moveTo>
                <a:cubicBezTo>
                  <a:pt x="0" y="22"/>
                  <a:pt x="7" y="29"/>
                  <a:pt x="15" y="29"/>
                </a:cubicBezTo>
                <a:cubicBezTo>
                  <a:pt x="96" y="29"/>
                  <a:pt x="96" y="29"/>
                  <a:pt x="96" y="29"/>
                </a:cubicBezTo>
                <a:cubicBezTo>
                  <a:pt x="104" y="29"/>
                  <a:pt x="110" y="22"/>
                  <a:pt x="110" y="14"/>
                </a:cubicBezTo>
                <a:cubicBezTo>
                  <a:pt x="110" y="0"/>
                  <a:pt x="110" y="0"/>
                  <a:pt x="110" y="0"/>
                </a:cubicBezTo>
                <a:cubicBezTo>
                  <a:pt x="0" y="0"/>
                  <a:pt x="0" y="0"/>
                  <a:pt x="0" y="0"/>
                </a:cubicBez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3" name="Freeform 40"/>
          <p:cNvSpPr>
            <a:spLocks/>
          </p:cNvSpPr>
          <p:nvPr userDrawn="1"/>
        </p:nvSpPr>
        <p:spPr bwMode="auto">
          <a:xfrm>
            <a:off x="9571075" y="3261252"/>
            <a:ext cx="291486" cy="253666"/>
          </a:xfrm>
          <a:custGeom>
            <a:avLst/>
            <a:gdLst>
              <a:gd name="T0" fmla="*/ 96 w 110"/>
              <a:gd name="T1" fmla="*/ 0 h 96"/>
              <a:gd name="T2" fmla="*/ 15 w 110"/>
              <a:gd name="T3" fmla="*/ 0 h 96"/>
              <a:gd name="T4" fmla="*/ 0 w 110"/>
              <a:gd name="T5" fmla="*/ 15 h 96"/>
              <a:gd name="T6" fmla="*/ 0 w 110"/>
              <a:gd name="T7" fmla="*/ 96 h 96"/>
              <a:gd name="T8" fmla="*/ 110 w 110"/>
              <a:gd name="T9" fmla="*/ 96 h 96"/>
              <a:gd name="T10" fmla="*/ 110 w 110"/>
              <a:gd name="T11" fmla="*/ 15 h 96"/>
              <a:gd name="T12" fmla="*/ 96 w 110"/>
              <a:gd name="T13" fmla="*/ 0 h 96"/>
            </a:gdLst>
            <a:ahLst/>
            <a:cxnLst>
              <a:cxn ang="0">
                <a:pos x="T0" y="T1"/>
              </a:cxn>
              <a:cxn ang="0">
                <a:pos x="T2" y="T3"/>
              </a:cxn>
              <a:cxn ang="0">
                <a:pos x="T4" y="T5"/>
              </a:cxn>
              <a:cxn ang="0">
                <a:pos x="T6" y="T7"/>
              </a:cxn>
              <a:cxn ang="0">
                <a:pos x="T8" y="T9"/>
              </a:cxn>
              <a:cxn ang="0">
                <a:pos x="T10" y="T11"/>
              </a:cxn>
              <a:cxn ang="0">
                <a:pos x="T12" y="T13"/>
              </a:cxn>
            </a:cxnLst>
            <a:rect l="0" t="0" r="r" b="b"/>
            <a:pathLst>
              <a:path w="110" h="96">
                <a:moveTo>
                  <a:pt x="96" y="0"/>
                </a:moveTo>
                <a:cubicBezTo>
                  <a:pt x="15" y="0"/>
                  <a:pt x="15" y="0"/>
                  <a:pt x="15" y="0"/>
                </a:cubicBezTo>
                <a:cubicBezTo>
                  <a:pt x="7" y="0"/>
                  <a:pt x="0" y="7"/>
                  <a:pt x="0" y="15"/>
                </a:cubicBezTo>
                <a:cubicBezTo>
                  <a:pt x="0" y="96"/>
                  <a:pt x="0" y="96"/>
                  <a:pt x="0" y="96"/>
                </a:cubicBezTo>
                <a:cubicBezTo>
                  <a:pt x="110" y="96"/>
                  <a:pt x="110" y="96"/>
                  <a:pt x="110" y="96"/>
                </a:cubicBezTo>
                <a:cubicBezTo>
                  <a:pt x="110" y="15"/>
                  <a:pt x="110" y="15"/>
                  <a:pt x="110" y="15"/>
                </a:cubicBezTo>
                <a:cubicBezTo>
                  <a:pt x="110" y="7"/>
                  <a:pt x="104" y="0"/>
                  <a:pt x="96"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4" name="Oval 41"/>
          <p:cNvSpPr>
            <a:spLocks noChangeArrowheads="1"/>
          </p:cNvSpPr>
          <p:nvPr userDrawn="1"/>
        </p:nvSpPr>
        <p:spPr bwMode="auto">
          <a:xfrm>
            <a:off x="9631643" y="3306685"/>
            <a:ext cx="170349" cy="1665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5" name="Freeform 42"/>
          <p:cNvSpPr>
            <a:spLocks/>
          </p:cNvSpPr>
          <p:nvPr userDrawn="1"/>
        </p:nvSpPr>
        <p:spPr bwMode="auto">
          <a:xfrm>
            <a:off x="9692211" y="3340758"/>
            <a:ext cx="68140" cy="94653"/>
          </a:xfrm>
          <a:custGeom>
            <a:avLst/>
            <a:gdLst>
              <a:gd name="T0" fmla="*/ 18 w 18"/>
              <a:gd name="T1" fmla="*/ 12 h 25"/>
              <a:gd name="T2" fmla="*/ 0 w 18"/>
              <a:gd name="T3" fmla="*/ 25 h 25"/>
              <a:gd name="T4" fmla="*/ 0 w 18"/>
              <a:gd name="T5" fmla="*/ 0 h 25"/>
              <a:gd name="T6" fmla="*/ 18 w 18"/>
              <a:gd name="T7" fmla="*/ 12 h 25"/>
            </a:gdLst>
            <a:ahLst/>
            <a:cxnLst>
              <a:cxn ang="0">
                <a:pos x="T0" y="T1"/>
              </a:cxn>
              <a:cxn ang="0">
                <a:pos x="T2" y="T3"/>
              </a:cxn>
              <a:cxn ang="0">
                <a:pos x="T4" y="T5"/>
              </a:cxn>
              <a:cxn ang="0">
                <a:pos x="T6" y="T7"/>
              </a:cxn>
            </a:cxnLst>
            <a:rect l="0" t="0" r="r" b="b"/>
            <a:pathLst>
              <a:path w="18" h="25">
                <a:moveTo>
                  <a:pt x="18" y="12"/>
                </a:moveTo>
                <a:lnTo>
                  <a:pt x="0" y="25"/>
                </a:lnTo>
                <a:lnTo>
                  <a:pt x="0" y="0"/>
                </a:lnTo>
                <a:lnTo>
                  <a:pt x="18" y="12"/>
                </a:lnTo>
                <a:close/>
              </a:path>
            </a:pathLst>
          </a:custGeom>
          <a:solidFill>
            <a:srgbClr val="D400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6" name="Freeform 43"/>
          <p:cNvSpPr>
            <a:spLocks/>
          </p:cNvSpPr>
          <p:nvPr userDrawn="1"/>
        </p:nvSpPr>
        <p:spPr bwMode="auto">
          <a:xfrm>
            <a:off x="9692211" y="3340758"/>
            <a:ext cx="68140" cy="94653"/>
          </a:xfrm>
          <a:custGeom>
            <a:avLst/>
            <a:gdLst>
              <a:gd name="T0" fmla="*/ 18 w 18"/>
              <a:gd name="T1" fmla="*/ 12 h 25"/>
              <a:gd name="T2" fmla="*/ 0 w 18"/>
              <a:gd name="T3" fmla="*/ 25 h 25"/>
              <a:gd name="T4" fmla="*/ 0 w 18"/>
              <a:gd name="T5" fmla="*/ 0 h 25"/>
              <a:gd name="T6" fmla="*/ 18 w 18"/>
              <a:gd name="T7" fmla="*/ 12 h 25"/>
            </a:gdLst>
            <a:ahLst/>
            <a:cxnLst>
              <a:cxn ang="0">
                <a:pos x="T0" y="T1"/>
              </a:cxn>
              <a:cxn ang="0">
                <a:pos x="T2" y="T3"/>
              </a:cxn>
              <a:cxn ang="0">
                <a:pos x="T4" y="T5"/>
              </a:cxn>
              <a:cxn ang="0">
                <a:pos x="T6" y="T7"/>
              </a:cxn>
            </a:cxnLst>
            <a:rect l="0" t="0" r="r" b="b"/>
            <a:pathLst>
              <a:path w="18" h="25">
                <a:moveTo>
                  <a:pt x="18" y="12"/>
                </a:moveTo>
                <a:lnTo>
                  <a:pt x="0" y="25"/>
                </a:lnTo>
                <a:lnTo>
                  <a:pt x="0" y="0"/>
                </a:lnTo>
                <a:lnTo>
                  <a:pt x="18"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7" name="Freeform 44"/>
          <p:cNvSpPr>
            <a:spLocks/>
          </p:cNvSpPr>
          <p:nvPr userDrawn="1"/>
        </p:nvSpPr>
        <p:spPr bwMode="auto">
          <a:xfrm>
            <a:off x="9635430" y="3329400"/>
            <a:ext cx="140065" cy="143870"/>
          </a:xfrm>
          <a:custGeom>
            <a:avLst/>
            <a:gdLst>
              <a:gd name="T0" fmla="*/ 9 w 54"/>
              <a:gd name="T1" fmla="*/ 0 h 54"/>
              <a:gd name="T2" fmla="*/ 0 w 54"/>
              <a:gd name="T3" fmla="*/ 22 h 54"/>
              <a:gd name="T4" fmla="*/ 31 w 54"/>
              <a:gd name="T5" fmla="*/ 54 h 54"/>
              <a:gd name="T6" fmla="*/ 54 w 54"/>
              <a:gd name="T7" fmla="*/ 45 h 54"/>
              <a:gd name="T8" fmla="*/ 38 w 54"/>
              <a:gd name="T9" fmla="*/ 29 h 54"/>
              <a:gd name="T10" fmla="*/ 22 w 54"/>
              <a:gd name="T11" fmla="*/ 40 h 54"/>
              <a:gd name="T12" fmla="*/ 22 w 54"/>
              <a:gd name="T13" fmla="*/ 13 h 54"/>
              <a:gd name="T14" fmla="*/ 9 w 54"/>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9" y="0"/>
                </a:moveTo>
                <a:cubicBezTo>
                  <a:pt x="3" y="6"/>
                  <a:pt x="0" y="14"/>
                  <a:pt x="0" y="22"/>
                </a:cubicBezTo>
                <a:cubicBezTo>
                  <a:pt x="0" y="40"/>
                  <a:pt x="14" y="54"/>
                  <a:pt x="31" y="54"/>
                </a:cubicBezTo>
                <a:cubicBezTo>
                  <a:pt x="40" y="54"/>
                  <a:pt x="48" y="51"/>
                  <a:pt x="54" y="45"/>
                </a:cubicBezTo>
                <a:cubicBezTo>
                  <a:pt x="38" y="29"/>
                  <a:pt x="38" y="29"/>
                  <a:pt x="38" y="29"/>
                </a:cubicBezTo>
                <a:cubicBezTo>
                  <a:pt x="22" y="40"/>
                  <a:pt x="22" y="40"/>
                  <a:pt x="22" y="40"/>
                </a:cubicBezTo>
                <a:cubicBezTo>
                  <a:pt x="22" y="13"/>
                  <a:pt x="22" y="13"/>
                  <a:pt x="22" y="13"/>
                </a:cubicBezTo>
                <a:cubicBezTo>
                  <a:pt x="9" y="0"/>
                  <a:pt x="9" y="0"/>
                  <a:pt x="9" y="0"/>
                </a:cubicBezTo>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8" name="Freeform 45"/>
          <p:cNvSpPr>
            <a:spLocks/>
          </p:cNvSpPr>
          <p:nvPr userDrawn="1"/>
        </p:nvSpPr>
        <p:spPr bwMode="auto">
          <a:xfrm>
            <a:off x="9692211" y="3363474"/>
            <a:ext cx="41642" cy="71936"/>
          </a:xfrm>
          <a:custGeom>
            <a:avLst/>
            <a:gdLst>
              <a:gd name="T0" fmla="*/ 0 w 11"/>
              <a:gd name="T1" fmla="*/ 0 h 19"/>
              <a:gd name="T2" fmla="*/ 0 w 11"/>
              <a:gd name="T3" fmla="*/ 19 h 19"/>
              <a:gd name="T4" fmla="*/ 11 w 11"/>
              <a:gd name="T5" fmla="*/ 11 h 19"/>
              <a:gd name="T6" fmla="*/ 0 w 11"/>
              <a:gd name="T7" fmla="*/ 0 h 19"/>
            </a:gdLst>
            <a:ahLst/>
            <a:cxnLst>
              <a:cxn ang="0">
                <a:pos x="T0" y="T1"/>
              </a:cxn>
              <a:cxn ang="0">
                <a:pos x="T2" y="T3"/>
              </a:cxn>
              <a:cxn ang="0">
                <a:pos x="T4" y="T5"/>
              </a:cxn>
              <a:cxn ang="0">
                <a:pos x="T6" y="T7"/>
              </a:cxn>
            </a:cxnLst>
            <a:rect l="0" t="0" r="r" b="b"/>
            <a:pathLst>
              <a:path w="11" h="19">
                <a:moveTo>
                  <a:pt x="0" y="0"/>
                </a:moveTo>
                <a:lnTo>
                  <a:pt x="0" y="19"/>
                </a:lnTo>
                <a:lnTo>
                  <a:pt x="11" y="11"/>
                </a:lnTo>
                <a:lnTo>
                  <a:pt x="0" y="0"/>
                </a:lnTo>
                <a:close/>
              </a:path>
            </a:pathLst>
          </a:custGeom>
          <a:solidFill>
            <a:srgbClr val="EA4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9" name="Freeform 46"/>
          <p:cNvSpPr>
            <a:spLocks/>
          </p:cNvSpPr>
          <p:nvPr userDrawn="1"/>
        </p:nvSpPr>
        <p:spPr bwMode="auto">
          <a:xfrm>
            <a:off x="9692211" y="3363474"/>
            <a:ext cx="41642" cy="71936"/>
          </a:xfrm>
          <a:custGeom>
            <a:avLst/>
            <a:gdLst>
              <a:gd name="T0" fmla="*/ 0 w 11"/>
              <a:gd name="T1" fmla="*/ 0 h 19"/>
              <a:gd name="T2" fmla="*/ 0 w 11"/>
              <a:gd name="T3" fmla="*/ 19 h 19"/>
              <a:gd name="T4" fmla="*/ 11 w 11"/>
              <a:gd name="T5" fmla="*/ 11 h 19"/>
              <a:gd name="T6" fmla="*/ 0 w 11"/>
              <a:gd name="T7" fmla="*/ 0 h 19"/>
            </a:gdLst>
            <a:ahLst/>
            <a:cxnLst>
              <a:cxn ang="0">
                <a:pos x="T0" y="T1"/>
              </a:cxn>
              <a:cxn ang="0">
                <a:pos x="T2" y="T3"/>
              </a:cxn>
              <a:cxn ang="0">
                <a:pos x="T4" y="T5"/>
              </a:cxn>
              <a:cxn ang="0">
                <a:pos x="T6" y="T7"/>
              </a:cxn>
            </a:cxnLst>
            <a:rect l="0" t="0" r="r" b="b"/>
            <a:pathLst>
              <a:path w="11" h="19">
                <a:moveTo>
                  <a:pt x="0" y="0"/>
                </a:moveTo>
                <a:lnTo>
                  <a:pt x="0" y="19"/>
                </a:lnTo>
                <a:lnTo>
                  <a:pt x="11" y="1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0" name="Oval 47"/>
          <p:cNvSpPr>
            <a:spLocks noChangeArrowheads="1"/>
          </p:cNvSpPr>
          <p:nvPr userDrawn="1"/>
        </p:nvSpPr>
        <p:spPr bwMode="auto">
          <a:xfrm>
            <a:off x="9608930" y="3537633"/>
            <a:ext cx="26500" cy="26503"/>
          </a:xfrm>
          <a:prstGeom prst="ellipse">
            <a:avLst/>
          </a:pr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1" name="Oval 48"/>
          <p:cNvSpPr>
            <a:spLocks noChangeArrowheads="1"/>
          </p:cNvSpPr>
          <p:nvPr userDrawn="1"/>
        </p:nvSpPr>
        <p:spPr bwMode="auto">
          <a:xfrm>
            <a:off x="9654356" y="3537633"/>
            <a:ext cx="26500" cy="26503"/>
          </a:xfrm>
          <a:prstGeom prst="ellipse">
            <a:avLst/>
          </a:pr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2" name="Oval 49"/>
          <p:cNvSpPr>
            <a:spLocks noChangeArrowheads="1"/>
          </p:cNvSpPr>
          <p:nvPr userDrawn="1"/>
        </p:nvSpPr>
        <p:spPr bwMode="auto">
          <a:xfrm>
            <a:off x="9703569" y="3537633"/>
            <a:ext cx="26500" cy="26503"/>
          </a:xfrm>
          <a:prstGeom prst="ellipse">
            <a:avLst/>
          </a:pr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3" name="Oval 50"/>
          <p:cNvSpPr>
            <a:spLocks noChangeArrowheads="1"/>
          </p:cNvSpPr>
          <p:nvPr userDrawn="1"/>
        </p:nvSpPr>
        <p:spPr bwMode="auto">
          <a:xfrm>
            <a:off x="9748995" y="3537633"/>
            <a:ext cx="26500" cy="26503"/>
          </a:xfrm>
          <a:prstGeom prst="ellipse">
            <a:avLst/>
          </a:pr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4" name="Oval 51"/>
          <p:cNvSpPr>
            <a:spLocks noChangeArrowheads="1"/>
          </p:cNvSpPr>
          <p:nvPr userDrawn="1"/>
        </p:nvSpPr>
        <p:spPr bwMode="auto">
          <a:xfrm>
            <a:off x="9801992" y="3537633"/>
            <a:ext cx="22714" cy="26503"/>
          </a:xfrm>
          <a:prstGeom prst="ellipse">
            <a:avLst/>
          </a:pr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5" name="Freeform 52"/>
          <p:cNvSpPr>
            <a:spLocks/>
          </p:cNvSpPr>
          <p:nvPr userDrawn="1"/>
        </p:nvSpPr>
        <p:spPr bwMode="auto">
          <a:xfrm>
            <a:off x="9465081" y="2500255"/>
            <a:ext cx="408835" cy="170373"/>
          </a:xfrm>
          <a:custGeom>
            <a:avLst/>
            <a:gdLst>
              <a:gd name="T0" fmla="*/ 0 w 155"/>
              <a:gd name="T1" fmla="*/ 0 h 64"/>
              <a:gd name="T2" fmla="*/ 0 w 155"/>
              <a:gd name="T3" fmla="*/ 48 h 64"/>
              <a:gd name="T4" fmla="*/ 77 w 155"/>
              <a:gd name="T5" fmla="*/ 64 h 64"/>
              <a:gd name="T6" fmla="*/ 155 w 155"/>
              <a:gd name="T7" fmla="*/ 48 h 64"/>
              <a:gd name="T8" fmla="*/ 155 w 155"/>
              <a:gd name="T9" fmla="*/ 0 h 64"/>
              <a:gd name="T10" fmla="*/ 77 w 155"/>
              <a:gd name="T11" fmla="*/ 14 h 64"/>
              <a:gd name="T12" fmla="*/ 0 w 155"/>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155" h="64">
                <a:moveTo>
                  <a:pt x="0" y="0"/>
                </a:moveTo>
                <a:cubicBezTo>
                  <a:pt x="0" y="48"/>
                  <a:pt x="0" y="48"/>
                  <a:pt x="0" y="48"/>
                </a:cubicBezTo>
                <a:cubicBezTo>
                  <a:pt x="0" y="48"/>
                  <a:pt x="24" y="64"/>
                  <a:pt x="77" y="64"/>
                </a:cubicBezTo>
                <a:cubicBezTo>
                  <a:pt x="130" y="64"/>
                  <a:pt x="155" y="48"/>
                  <a:pt x="155" y="48"/>
                </a:cubicBezTo>
                <a:cubicBezTo>
                  <a:pt x="155" y="0"/>
                  <a:pt x="155" y="0"/>
                  <a:pt x="155" y="0"/>
                </a:cubicBezTo>
                <a:cubicBezTo>
                  <a:pt x="77" y="14"/>
                  <a:pt x="77" y="14"/>
                  <a:pt x="77" y="14"/>
                </a:cubicBezTo>
                <a:lnTo>
                  <a:pt x="0" y="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6" name="Freeform 53"/>
          <p:cNvSpPr>
            <a:spLocks/>
          </p:cNvSpPr>
          <p:nvPr userDrawn="1"/>
        </p:nvSpPr>
        <p:spPr bwMode="auto">
          <a:xfrm>
            <a:off x="9321231" y="2466181"/>
            <a:ext cx="692750" cy="94653"/>
          </a:xfrm>
          <a:custGeom>
            <a:avLst/>
            <a:gdLst>
              <a:gd name="T0" fmla="*/ 92 w 183"/>
              <a:gd name="T1" fmla="*/ 16 h 25"/>
              <a:gd name="T2" fmla="*/ 0 w 183"/>
              <a:gd name="T3" fmla="*/ 0 h 25"/>
              <a:gd name="T4" fmla="*/ 0 w 183"/>
              <a:gd name="T5" fmla="*/ 7 h 25"/>
              <a:gd name="T6" fmla="*/ 92 w 183"/>
              <a:gd name="T7" fmla="*/ 25 h 25"/>
              <a:gd name="T8" fmla="*/ 183 w 183"/>
              <a:gd name="T9" fmla="*/ 7 h 25"/>
              <a:gd name="T10" fmla="*/ 183 w 183"/>
              <a:gd name="T11" fmla="*/ 0 h 25"/>
              <a:gd name="T12" fmla="*/ 92 w 183"/>
              <a:gd name="T13" fmla="*/ 16 h 25"/>
            </a:gdLst>
            <a:ahLst/>
            <a:cxnLst>
              <a:cxn ang="0">
                <a:pos x="T0" y="T1"/>
              </a:cxn>
              <a:cxn ang="0">
                <a:pos x="T2" y="T3"/>
              </a:cxn>
              <a:cxn ang="0">
                <a:pos x="T4" y="T5"/>
              </a:cxn>
              <a:cxn ang="0">
                <a:pos x="T6" y="T7"/>
              </a:cxn>
              <a:cxn ang="0">
                <a:pos x="T8" y="T9"/>
              </a:cxn>
              <a:cxn ang="0">
                <a:pos x="T10" y="T11"/>
              </a:cxn>
              <a:cxn ang="0">
                <a:pos x="T12" y="T13"/>
              </a:cxn>
            </a:cxnLst>
            <a:rect l="0" t="0" r="r" b="b"/>
            <a:pathLst>
              <a:path w="183" h="25">
                <a:moveTo>
                  <a:pt x="92" y="16"/>
                </a:moveTo>
                <a:lnTo>
                  <a:pt x="0" y="0"/>
                </a:lnTo>
                <a:lnTo>
                  <a:pt x="0" y="7"/>
                </a:lnTo>
                <a:lnTo>
                  <a:pt x="92" y="25"/>
                </a:lnTo>
                <a:lnTo>
                  <a:pt x="183" y="7"/>
                </a:lnTo>
                <a:lnTo>
                  <a:pt x="183" y="0"/>
                </a:lnTo>
                <a:lnTo>
                  <a:pt x="92" y="16"/>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7" name="Freeform 54"/>
          <p:cNvSpPr>
            <a:spLocks/>
          </p:cNvSpPr>
          <p:nvPr userDrawn="1"/>
        </p:nvSpPr>
        <p:spPr bwMode="auto">
          <a:xfrm>
            <a:off x="9321231" y="2398033"/>
            <a:ext cx="692750" cy="140085"/>
          </a:xfrm>
          <a:custGeom>
            <a:avLst/>
            <a:gdLst>
              <a:gd name="T0" fmla="*/ 92 w 183"/>
              <a:gd name="T1" fmla="*/ 0 h 37"/>
              <a:gd name="T2" fmla="*/ 0 w 183"/>
              <a:gd name="T3" fmla="*/ 18 h 37"/>
              <a:gd name="T4" fmla="*/ 92 w 183"/>
              <a:gd name="T5" fmla="*/ 37 h 37"/>
              <a:gd name="T6" fmla="*/ 183 w 183"/>
              <a:gd name="T7" fmla="*/ 18 h 37"/>
              <a:gd name="T8" fmla="*/ 92 w 183"/>
              <a:gd name="T9" fmla="*/ 0 h 37"/>
            </a:gdLst>
            <a:ahLst/>
            <a:cxnLst>
              <a:cxn ang="0">
                <a:pos x="T0" y="T1"/>
              </a:cxn>
              <a:cxn ang="0">
                <a:pos x="T2" y="T3"/>
              </a:cxn>
              <a:cxn ang="0">
                <a:pos x="T4" y="T5"/>
              </a:cxn>
              <a:cxn ang="0">
                <a:pos x="T6" y="T7"/>
              </a:cxn>
              <a:cxn ang="0">
                <a:pos x="T8" y="T9"/>
              </a:cxn>
            </a:cxnLst>
            <a:rect l="0" t="0" r="r" b="b"/>
            <a:pathLst>
              <a:path w="183" h="37">
                <a:moveTo>
                  <a:pt x="92" y="0"/>
                </a:moveTo>
                <a:lnTo>
                  <a:pt x="0" y="18"/>
                </a:lnTo>
                <a:lnTo>
                  <a:pt x="92" y="37"/>
                </a:lnTo>
                <a:lnTo>
                  <a:pt x="183" y="18"/>
                </a:lnTo>
                <a:lnTo>
                  <a:pt x="92" y="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8" name="Freeform 55"/>
          <p:cNvSpPr>
            <a:spLocks/>
          </p:cNvSpPr>
          <p:nvPr userDrawn="1"/>
        </p:nvSpPr>
        <p:spPr bwMode="auto">
          <a:xfrm>
            <a:off x="9661927" y="2462394"/>
            <a:ext cx="181704" cy="124941"/>
          </a:xfrm>
          <a:custGeom>
            <a:avLst/>
            <a:gdLst>
              <a:gd name="T0" fmla="*/ 66 w 68"/>
              <a:gd name="T1" fmla="*/ 47 h 47"/>
              <a:gd name="T2" fmla="*/ 63 w 68"/>
              <a:gd name="T3" fmla="*/ 45 h 47"/>
              <a:gd name="T4" fmla="*/ 63 w 68"/>
              <a:gd name="T5" fmla="*/ 18 h 47"/>
              <a:gd name="T6" fmla="*/ 2 w 68"/>
              <a:gd name="T7" fmla="*/ 4 h 47"/>
              <a:gd name="T8" fmla="*/ 0 w 68"/>
              <a:gd name="T9" fmla="*/ 2 h 47"/>
              <a:gd name="T10" fmla="*/ 3 w 68"/>
              <a:gd name="T11" fmla="*/ 0 h 47"/>
              <a:gd name="T12" fmla="*/ 66 w 68"/>
              <a:gd name="T13" fmla="*/ 14 h 47"/>
              <a:gd name="T14" fmla="*/ 68 w 68"/>
              <a:gd name="T15" fmla="*/ 16 h 47"/>
              <a:gd name="T16" fmla="*/ 68 w 68"/>
              <a:gd name="T17" fmla="*/ 45 h 47"/>
              <a:gd name="T18" fmla="*/ 66 w 68"/>
              <a:gd name="T1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7">
                <a:moveTo>
                  <a:pt x="66" y="47"/>
                </a:moveTo>
                <a:cubicBezTo>
                  <a:pt x="64" y="47"/>
                  <a:pt x="63" y="46"/>
                  <a:pt x="63" y="45"/>
                </a:cubicBezTo>
                <a:cubicBezTo>
                  <a:pt x="63" y="18"/>
                  <a:pt x="63" y="18"/>
                  <a:pt x="63" y="18"/>
                </a:cubicBezTo>
                <a:cubicBezTo>
                  <a:pt x="2" y="4"/>
                  <a:pt x="2" y="4"/>
                  <a:pt x="2" y="4"/>
                </a:cubicBezTo>
                <a:cubicBezTo>
                  <a:pt x="1" y="4"/>
                  <a:pt x="0" y="3"/>
                  <a:pt x="0" y="2"/>
                </a:cubicBezTo>
                <a:cubicBezTo>
                  <a:pt x="0" y="0"/>
                  <a:pt x="2" y="0"/>
                  <a:pt x="3" y="0"/>
                </a:cubicBezTo>
                <a:cubicBezTo>
                  <a:pt x="66" y="14"/>
                  <a:pt x="66" y="14"/>
                  <a:pt x="66" y="14"/>
                </a:cubicBezTo>
                <a:cubicBezTo>
                  <a:pt x="67" y="14"/>
                  <a:pt x="68" y="15"/>
                  <a:pt x="68" y="16"/>
                </a:cubicBezTo>
                <a:cubicBezTo>
                  <a:pt x="68" y="45"/>
                  <a:pt x="68" y="45"/>
                  <a:pt x="68" y="45"/>
                </a:cubicBezTo>
                <a:cubicBezTo>
                  <a:pt x="68" y="46"/>
                  <a:pt x="67" y="47"/>
                  <a:pt x="66"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9" name="Oval 56"/>
          <p:cNvSpPr>
            <a:spLocks noChangeArrowheads="1"/>
          </p:cNvSpPr>
          <p:nvPr userDrawn="1"/>
        </p:nvSpPr>
        <p:spPr bwMode="auto">
          <a:xfrm>
            <a:off x="9824705" y="2572190"/>
            <a:ext cx="22714" cy="1893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0" name="Freeform 57"/>
          <p:cNvSpPr>
            <a:spLocks/>
          </p:cNvSpPr>
          <p:nvPr userDrawn="1"/>
        </p:nvSpPr>
        <p:spPr bwMode="auto">
          <a:xfrm>
            <a:off x="9824705" y="2579763"/>
            <a:ext cx="22714" cy="30288"/>
          </a:xfrm>
          <a:custGeom>
            <a:avLst/>
            <a:gdLst>
              <a:gd name="T0" fmla="*/ 6 w 6"/>
              <a:gd name="T1" fmla="*/ 8 h 8"/>
              <a:gd name="T2" fmla="*/ 0 w 6"/>
              <a:gd name="T3" fmla="*/ 8 h 8"/>
              <a:gd name="T4" fmla="*/ 2 w 6"/>
              <a:gd name="T5" fmla="*/ 0 h 8"/>
              <a:gd name="T6" fmla="*/ 4 w 6"/>
              <a:gd name="T7" fmla="*/ 0 h 8"/>
              <a:gd name="T8" fmla="*/ 6 w 6"/>
              <a:gd name="T9" fmla="*/ 8 h 8"/>
            </a:gdLst>
            <a:ahLst/>
            <a:cxnLst>
              <a:cxn ang="0">
                <a:pos x="T0" y="T1"/>
              </a:cxn>
              <a:cxn ang="0">
                <a:pos x="T2" y="T3"/>
              </a:cxn>
              <a:cxn ang="0">
                <a:pos x="T4" y="T5"/>
              </a:cxn>
              <a:cxn ang="0">
                <a:pos x="T6" y="T7"/>
              </a:cxn>
              <a:cxn ang="0">
                <a:pos x="T8" y="T9"/>
              </a:cxn>
            </a:cxnLst>
            <a:rect l="0" t="0" r="r" b="b"/>
            <a:pathLst>
              <a:path w="6" h="8">
                <a:moveTo>
                  <a:pt x="6" y="8"/>
                </a:moveTo>
                <a:lnTo>
                  <a:pt x="0" y="8"/>
                </a:lnTo>
                <a:lnTo>
                  <a:pt x="2" y="0"/>
                </a:lnTo>
                <a:lnTo>
                  <a:pt x="4" y="0"/>
                </a:lnTo>
                <a:lnTo>
                  <a:pt x="6"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1" name="Freeform 58"/>
          <p:cNvSpPr>
            <a:spLocks/>
          </p:cNvSpPr>
          <p:nvPr userDrawn="1"/>
        </p:nvSpPr>
        <p:spPr bwMode="auto">
          <a:xfrm>
            <a:off x="7545827" y="2363957"/>
            <a:ext cx="427764" cy="306671"/>
          </a:xfrm>
          <a:custGeom>
            <a:avLst/>
            <a:gdLst>
              <a:gd name="T0" fmla="*/ 162 w 162"/>
              <a:gd name="T1" fmla="*/ 91 h 117"/>
              <a:gd name="T2" fmla="*/ 143 w 162"/>
              <a:gd name="T3" fmla="*/ 14 h 117"/>
              <a:gd name="T4" fmla="*/ 103 w 162"/>
              <a:gd name="T5" fmla="*/ 12 h 117"/>
              <a:gd name="T6" fmla="*/ 81 w 162"/>
              <a:gd name="T7" fmla="*/ 15 h 117"/>
              <a:gd name="T8" fmla="*/ 60 w 162"/>
              <a:gd name="T9" fmla="*/ 12 h 117"/>
              <a:gd name="T10" fmla="*/ 20 w 162"/>
              <a:gd name="T11" fmla="*/ 14 h 117"/>
              <a:gd name="T12" fmla="*/ 1 w 162"/>
              <a:gd name="T13" fmla="*/ 91 h 117"/>
              <a:gd name="T14" fmla="*/ 11 w 162"/>
              <a:gd name="T15" fmla="*/ 116 h 117"/>
              <a:gd name="T16" fmla="*/ 11 w 162"/>
              <a:gd name="T17" fmla="*/ 116 h 117"/>
              <a:gd name="T18" fmla="*/ 29 w 162"/>
              <a:gd name="T19" fmla="*/ 111 h 117"/>
              <a:gd name="T20" fmla="*/ 58 w 162"/>
              <a:gd name="T21" fmla="*/ 89 h 117"/>
              <a:gd name="T22" fmla="*/ 81 w 162"/>
              <a:gd name="T23" fmla="*/ 87 h 117"/>
              <a:gd name="T24" fmla="*/ 105 w 162"/>
              <a:gd name="T25" fmla="*/ 89 h 117"/>
              <a:gd name="T26" fmla="*/ 134 w 162"/>
              <a:gd name="T27" fmla="*/ 111 h 117"/>
              <a:gd name="T28" fmla="*/ 151 w 162"/>
              <a:gd name="T29" fmla="*/ 116 h 117"/>
              <a:gd name="T30" fmla="*/ 151 w 162"/>
              <a:gd name="T31" fmla="*/ 116 h 117"/>
              <a:gd name="T32" fmla="*/ 162 w 162"/>
              <a:gd name="T33" fmla="*/ 9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2" h="117">
                <a:moveTo>
                  <a:pt x="162" y="91"/>
                </a:moveTo>
                <a:cubicBezTo>
                  <a:pt x="161" y="46"/>
                  <a:pt x="152" y="22"/>
                  <a:pt x="143" y="14"/>
                </a:cubicBezTo>
                <a:cubicBezTo>
                  <a:pt x="127" y="0"/>
                  <a:pt x="104" y="12"/>
                  <a:pt x="103" y="12"/>
                </a:cubicBezTo>
                <a:cubicBezTo>
                  <a:pt x="81" y="15"/>
                  <a:pt x="81" y="15"/>
                  <a:pt x="81" y="15"/>
                </a:cubicBezTo>
                <a:cubicBezTo>
                  <a:pt x="60" y="12"/>
                  <a:pt x="60" y="12"/>
                  <a:pt x="60" y="12"/>
                </a:cubicBezTo>
                <a:cubicBezTo>
                  <a:pt x="58" y="12"/>
                  <a:pt x="35" y="0"/>
                  <a:pt x="20" y="14"/>
                </a:cubicBezTo>
                <a:cubicBezTo>
                  <a:pt x="10" y="22"/>
                  <a:pt x="2" y="46"/>
                  <a:pt x="1" y="91"/>
                </a:cubicBezTo>
                <a:cubicBezTo>
                  <a:pt x="0" y="95"/>
                  <a:pt x="1" y="115"/>
                  <a:pt x="11" y="116"/>
                </a:cubicBezTo>
                <a:cubicBezTo>
                  <a:pt x="11" y="116"/>
                  <a:pt x="11" y="116"/>
                  <a:pt x="11" y="116"/>
                </a:cubicBezTo>
                <a:cubicBezTo>
                  <a:pt x="11" y="116"/>
                  <a:pt x="20" y="117"/>
                  <a:pt x="29" y="111"/>
                </a:cubicBezTo>
                <a:cubicBezTo>
                  <a:pt x="34" y="106"/>
                  <a:pt x="47" y="91"/>
                  <a:pt x="58" y="89"/>
                </a:cubicBezTo>
                <a:cubicBezTo>
                  <a:pt x="69" y="87"/>
                  <a:pt x="81" y="87"/>
                  <a:pt x="81" y="87"/>
                </a:cubicBezTo>
                <a:cubicBezTo>
                  <a:pt x="81" y="87"/>
                  <a:pt x="94" y="87"/>
                  <a:pt x="105" y="89"/>
                </a:cubicBezTo>
                <a:cubicBezTo>
                  <a:pt x="115" y="91"/>
                  <a:pt x="129" y="106"/>
                  <a:pt x="134" y="111"/>
                </a:cubicBezTo>
                <a:cubicBezTo>
                  <a:pt x="142" y="117"/>
                  <a:pt x="151" y="116"/>
                  <a:pt x="151" y="116"/>
                </a:cubicBezTo>
                <a:cubicBezTo>
                  <a:pt x="151" y="116"/>
                  <a:pt x="151" y="116"/>
                  <a:pt x="151" y="116"/>
                </a:cubicBezTo>
                <a:cubicBezTo>
                  <a:pt x="162" y="115"/>
                  <a:pt x="162" y="95"/>
                  <a:pt x="162" y="91"/>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2" name="Freeform 59"/>
          <p:cNvSpPr>
            <a:spLocks/>
          </p:cNvSpPr>
          <p:nvPr userDrawn="1"/>
        </p:nvSpPr>
        <p:spPr bwMode="auto">
          <a:xfrm>
            <a:off x="7886523" y="2379100"/>
            <a:ext cx="113566" cy="287740"/>
          </a:xfrm>
          <a:custGeom>
            <a:avLst/>
            <a:gdLst>
              <a:gd name="T0" fmla="*/ 44 w 44"/>
              <a:gd name="T1" fmla="*/ 85 h 110"/>
              <a:gd name="T2" fmla="*/ 25 w 44"/>
              <a:gd name="T3" fmla="*/ 8 h 110"/>
              <a:gd name="T4" fmla="*/ 0 w 44"/>
              <a:gd name="T5" fmla="*/ 1 h 110"/>
              <a:gd name="T6" fmla="*/ 15 w 44"/>
              <a:gd name="T7" fmla="*/ 8 h 110"/>
              <a:gd name="T8" fmla="*/ 34 w 44"/>
              <a:gd name="T9" fmla="*/ 85 h 110"/>
              <a:gd name="T10" fmla="*/ 26 w 44"/>
              <a:gd name="T11" fmla="*/ 109 h 110"/>
              <a:gd name="T12" fmla="*/ 33 w 44"/>
              <a:gd name="T13" fmla="*/ 110 h 110"/>
              <a:gd name="T14" fmla="*/ 33 w 44"/>
              <a:gd name="T15" fmla="*/ 110 h 110"/>
              <a:gd name="T16" fmla="*/ 44 w 44"/>
              <a:gd name="T17" fmla="*/ 8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10">
                <a:moveTo>
                  <a:pt x="44" y="85"/>
                </a:moveTo>
                <a:cubicBezTo>
                  <a:pt x="43" y="40"/>
                  <a:pt x="34" y="16"/>
                  <a:pt x="25" y="8"/>
                </a:cubicBezTo>
                <a:cubicBezTo>
                  <a:pt x="17" y="1"/>
                  <a:pt x="8" y="0"/>
                  <a:pt x="0" y="1"/>
                </a:cubicBezTo>
                <a:cubicBezTo>
                  <a:pt x="5" y="2"/>
                  <a:pt x="10" y="4"/>
                  <a:pt x="15" y="8"/>
                </a:cubicBezTo>
                <a:cubicBezTo>
                  <a:pt x="24" y="16"/>
                  <a:pt x="33" y="40"/>
                  <a:pt x="34" y="85"/>
                </a:cubicBezTo>
                <a:cubicBezTo>
                  <a:pt x="34" y="89"/>
                  <a:pt x="34" y="105"/>
                  <a:pt x="26" y="109"/>
                </a:cubicBezTo>
                <a:cubicBezTo>
                  <a:pt x="30" y="110"/>
                  <a:pt x="33" y="110"/>
                  <a:pt x="33" y="110"/>
                </a:cubicBezTo>
                <a:cubicBezTo>
                  <a:pt x="33" y="110"/>
                  <a:pt x="33" y="110"/>
                  <a:pt x="33" y="110"/>
                </a:cubicBezTo>
                <a:cubicBezTo>
                  <a:pt x="44" y="109"/>
                  <a:pt x="44" y="89"/>
                  <a:pt x="44" y="85"/>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3" name="Freeform 60"/>
          <p:cNvSpPr>
            <a:spLocks noEditPoints="1"/>
          </p:cNvSpPr>
          <p:nvPr userDrawn="1"/>
        </p:nvSpPr>
        <p:spPr bwMode="auto">
          <a:xfrm>
            <a:off x="7659391" y="2492682"/>
            <a:ext cx="75710" cy="71936"/>
          </a:xfrm>
          <a:custGeom>
            <a:avLst/>
            <a:gdLst>
              <a:gd name="T0" fmla="*/ 17 w 28"/>
              <a:gd name="T1" fmla="*/ 27 h 27"/>
              <a:gd name="T2" fmla="*/ 28 w 28"/>
              <a:gd name="T3" fmla="*/ 16 h 27"/>
              <a:gd name="T4" fmla="*/ 17 w 28"/>
              <a:gd name="T5" fmla="*/ 16 h 27"/>
              <a:gd name="T6" fmla="*/ 17 w 28"/>
              <a:gd name="T7" fmla="*/ 27 h 27"/>
              <a:gd name="T8" fmla="*/ 0 w 28"/>
              <a:gd name="T9" fmla="*/ 16 h 27"/>
              <a:gd name="T10" fmla="*/ 12 w 28"/>
              <a:gd name="T11" fmla="*/ 27 h 27"/>
              <a:gd name="T12" fmla="*/ 12 w 28"/>
              <a:gd name="T13" fmla="*/ 16 h 27"/>
              <a:gd name="T14" fmla="*/ 0 w 28"/>
              <a:gd name="T15" fmla="*/ 16 h 27"/>
              <a:gd name="T16" fmla="*/ 12 w 28"/>
              <a:gd name="T17" fmla="*/ 0 h 27"/>
              <a:gd name="T18" fmla="*/ 0 w 28"/>
              <a:gd name="T19" fmla="*/ 11 h 27"/>
              <a:gd name="T20" fmla="*/ 12 w 28"/>
              <a:gd name="T21" fmla="*/ 11 h 27"/>
              <a:gd name="T22" fmla="*/ 12 w 28"/>
              <a:gd name="T23" fmla="*/ 0 h 27"/>
              <a:gd name="T24" fmla="*/ 28 w 28"/>
              <a:gd name="T25" fmla="*/ 11 h 27"/>
              <a:gd name="T26" fmla="*/ 17 w 28"/>
              <a:gd name="T27" fmla="*/ 0 h 27"/>
              <a:gd name="T28" fmla="*/ 17 w 28"/>
              <a:gd name="T29" fmla="*/ 11 h 27"/>
              <a:gd name="T30" fmla="*/ 28 w 28"/>
              <a:gd name="T31" fmla="*/ 1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7">
                <a:moveTo>
                  <a:pt x="17" y="27"/>
                </a:moveTo>
                <a:cubicBezTo>
                  <a:pt x="23" y="26"/>
                  <a:pt x="27" y="22"/>
                  <a:pt x="28" y="16"/>
                </a:cubicBezTo>
                <a:cubicBezTo>
                  <a:pt x="17" y="16"/>
                  <a:pt x="17" y="16"/>
                  <a:pt x="17" y="16"/>
                </a:cubicBezTo>
                <a:lnTo>
                  <a:pt x="17" y="27"/>
                </a:lnTo>
                <a:close/>
                <a:moveTo>
                  <a:pt x="0" y="16"/>
                </a:moveTo>
                <a:cubicBezTo>
                  <a:pt x="1" y="22"/>
                  <a:pt x="6" y="26"/>
                  <a:pt x="12" y="27"/>
                </a:cubicBezTo>
                <a:cubicBezTo>
                  <a:pt x="12" y="16"/>
                  <a:pt x="12" y="16"/>
                  <a:pt x="12" y="16"/>
                </a:cubicBezTo>
                <a:lnTo>
                  <a:pt x="0" y="16"/>
                </a:lnTo>
                <a:close/>
                <a:moveTo>
                  <a:pt x="12" y="0"/>
                </a:moveTo>
                <a:cubicBezTo>
                  <a:pt x="6" y="1"/>
                  <a:pt x="1" y="5"/>
                  <a:pt x="0" y="11"/>
                </a:cubicBezTo>
                <a:cubicBezTo>
                  <a:pt x="12" y="11"/>
                  <a:pt x="12" y="11"/>
                  <a:pt x="12" y="11"/>
                </a:cubicBezTo>
                <a:lnTo>
                  <a:pt x="12" y="0"/>
                </a:lnTo>
                <a:close/>
                <a:moveTo>
                  <a:pt x="28" y="11"/>
                </a:moveTo>
                <a:cubicBezTo>
                  <a:pt x="27" y="5"/>
                  <a:pt x="23" y="1"/>
                  <a:pt x="17" y="0"/>
                </a:cubicBezTo>
                <a:cubicBezTo>
                  <a:pt x="17" y="11"/>
                  <a:pt x="17" y="11"/>
                  <a:pt x="17" y="11"/>
                </a:cubicBezTo>
                <a:lnTo>
                  <a:pt x="28"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4" name="Oval 61"/>
          <p:cNvSpPr>
            <a:spLocks noChangeArrowheads="1"/>
          </p:cNvSpPr>
          <p:nvPr userDrawn="1"/>
        </p:nvSpPr>
        <p:spPr bwMode="auto">
          <a:xfrm>
            <a:off x="7795671" y="2500255"/>
            <a:ext cx="56784" cy="56792"/>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5" name="Oval 62"/>
          <p:cNvSpPr>
            <a:spLocks noChangeArrowheads="1"/>
          </p:cNvSpPr>
          <p:nvPr userDrawn="1"/>
        </p:nvSpPr>
        <p:spPr bwMode="auto">
          <a:xfrm>
            <a:off x="7871381" y="2409390"/>
            <a:ext cx="30284" cy="26503"/>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6" name="Oval 63"/>
          <p:cNvSpPr>
            <a:spLocks noChangeArrowheads="1"/>
          </p:cNvSpPr>
          <p:nvPr userDrawn="1"/>
        </p:nvSpPr>
        <p:spPr bwMode="auto">
          <a:xfrm>
            <a:off x="7871381" y="2469966"/>
            <a:ext cx="30284" cy="30288"/>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7" name="Oval 64"/>
          <p:cNvSpPr>
            <a:spLocks noChangeArrowheads="1"/>
          </p:cNvSpPr>
          <p:nvPr userDrawn="1"/>
        </p:nvSpPr>
        <p:spPr bwMode="auto">
          <a:xfrm>
            <a:off x="7841097" y="2439678"/>
            <a:ext cx="26500" cy="26503"/>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8" name="Oval 65"/>
          <p:cNvSpPr>
            <a:spLocks noChangeArrowheads="1"/>
          </p:cNvSpPr>
          <p:nvPr userDrawn="1"/>
        </p:nvSpPr>
        <p:spPr bwMode="auto">
          <a:xfrm>
            <a:off x="7901665" y="2439678"/>
            <a:ext cx="30284" cy="26503"/>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9" name="Freeform 66"/>
          <p:cNvSpPr>
            <a:spLocks/>
          </p:cNvSpPr>
          <p:nvPr userDrawn="1"/>
        </p:nvSpPr>
        <p:spPr bwMode="auto">
          <a:xfrm>
            <a:off x="7731316" y="2428321"/>
            <a:ext cx="56784" cy="56792"/>
          </a:xfrm>
          <a:custGeom>
            <a:avLst/>
            <a:gdLst>
              <a:gd name="T0" fmla="*/ 18 w 22"/>
              <a:gd name="T1" fmla="*/ 4 h 22"/>
              <a:gd name="T2" fmla="*/ 4 w 22"/>
              <a:gd name="T3" fmla="*/ 4 h 22"/>
              <a:gd name="T4" fmla="*/ 4 w 22"/>
              <a:gd name="T5" fmla="*/ 18 h 22"/>
              <a:gd name="T6" fmla="*/ 18 w 22"/>
              <a:gd name="T7" fmla="*/ 18 h 22"/>
              <a:gd name="T8" fmla="*/ 18 w 22"/>
              <a:gd name="T9" fmla="*/ 4 h 22"/>
            </a:gdLst>
            <a:ahLst/>
            <a:cxnLst>
              <a:cxn ang="0">
                <a:pos x="T0" y="T1"/>
              </a:cxn>
              <a:cxn ang="0">
                <a:pos x="T2" y="T3"/>
              </a:cxn>
              <a:cxn ang="0">
                <a:pos x="T4" y="T5"/>
              </a:cxn>
              <a:cxn ang="0">
                <a:pos x="T6" y="T7"/>
              </a:cxn>
              <a:cxn ang="0">
                <a:pos x="T8" y="T9"/>
              </a:cxn>
            </a:cxnLst>
            <a:rect l="0" t="0" r="r" b="b"/>
            <a:pathLst>
              <a:path w="22" h="22">
                <a:moveTo>
                  <a:pt x="18" y="4"/>
                </a:moveTo>
                <a:cubicBezTo>
                  <a:pt x="14" y="0"/>
                  <a:pt x="8" y="0"/>
                  <a:pt x="4" y="4"/>
                </a:cubicBezTo>
                <a:cubicBezTo>
                  <a:pt x="0" y="8"/>
                  <a:pt x="0" y="14"/>
                  <a:pt x="4" y="18"/>
                </a:cubicBezTo>
                <a:cubicBezTo>
                  <a:pt x="8" y="22"/>
                  <a:pt x="14" y="22"/>
                  <a:pt x="18" y="18"/>
                </a:cubicBezTo>
                <a:cubicBezTo>
                  <a:pt x="22" y="14"/>
                  <a:pt x="22" y="8"/>
                  <a:pt x="18" y="4"/>
                </a:cubicBezTo>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0" name="Oval 67"/>
          <p:cNvSpPr>
            <a:spLocks noChangeArrowheads="1"/>
          </p:cNvSpPr>
          <p:nvPr userDrawn="1"/>
        </p:nvSpPr>
        <p:spPr bwMode="auto">
          <a:xfrm>
            <a:off x="7613966" y="2416962"/>
            <a:ext cx="56784" cy="56792"/>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1" name="Freeform 68"/>
          <p:cNvSpPr>
            <a:spLocks/>
          </p:cNvSpPr>
          <p:nvPr userDrawn="1"/>
        </p:nvSpPr>
        <p:spPr bwMode="auto">
          <a:xfrm>
            <a:off x="7988731" y="3155243"/>
            <a:ext cx="56784" cy="371033"/>
          </a:xfrm>
          <a:custGeom>
            <a:avLst/>
            <a:gdLst>
              <a:gd name="T0" fmla="*/ 10 w 21"/>
              <a:gd name="T1" fmla="*/ 0 h 141"/>
              <a:gd name="T2" fmla="*/ 0 w 21"/>
              <a:gd name="T3" fmla="*/ 0 h 141"/>
              <a:gd name="T4" fmla="*/ 10 w 21"/>
              <a:gd name="T5" fmla="*/ 10 h 141"/>
              <a:gd name="T6" fmla="*/ 10 w 21"/>
              <a:gd name="T7" fmla="*/ 130 h 141"/>
              <a:gd name="T8" fmla="*/ 0 w 21"/>
              <a:gd name="T9" fmla="*/ 141 h 141"/>
              <a:gd name="T10" fmla="*/ 10 w 21"/>
              <a:gd name="T11" fmla="*/ 141 h 141"/>
              <a:gd name="T12" fmla="*/ 21 w 21"/>
              <a:gd name="T13" fmla="*/ 130 h 141"/>
              <a:gd name="T14" fmla="*/ 21 w 21"/>
              <a:gd name="T15" fmla="*/ 10 h 141"/>
              <a:gd name="T16" fmla="*/ 10 w 21"/>
              <a:gd name="T1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41">
                <a:moveTo>
                  <a:pt x="10" y="0"/>
                </a:moveTo>
                <a:cubicBezTo>
                  <a:pt x="0" y="0"/>
                  <a:pt x="0" y="0"/>
                  <a:pt x="0" y="0"/>
                </a:cubicBezTo>
                <a:cubicBezTo>
                  <a:pt x="5" y="0"/>
                  <a:pt x="10" y="5"/>
                  <a:pt x="10" y="10"/>
                </a:cubicBezTo>
                <a:cubicBezTo>
                  <a:pt x="10" y="130"/>
                  <a:pt x="10" y="130"/>
                  <a:pt x="10" y="130"/>
                </a:cubicBezTo>
                <a:cubicBezTo>
                  <a:pt x="10" y="136"/>
                  <a:pt x="5" y="141"/>
                  <a:pt x="0" y="141"/>
                </a:cubicBezTo>
                <a:cubicBezTo>
                  <a:pt x="10" y="141"/>
                  <a:pt x="10" y="141"/>
                  <a:pt x="10" y="141"/>
                </a:cubicBezTo>
                <a:cubicBezTo>
                  <a:pt x="16" y="141"/>
                  <a:pt x="21" y="136"/>
                  <a:pt x="21" y="130"/>
                </a:cubicBezTo>
                <a:cubicBezTo>
                  <a:pt x="21" y="10"/>
                  <a:pt x="21" y="10"/>
                  <a:pt x="21" y="10"/>
                </a:cubicBezTo>
                <a:cubicBezTo>
                  <a:pt x="21" y="5"/>
                  <a:pt x="16" y="0"/>
                  <a:pt x="10" y="0"/>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2" name="Freeform 69"/>
          <p:cNvSpPr>
            <a:spLocks/>
          </p:cNvSpPr>
          <p:nvPr userDrawn="1"/>
        </p:nvSpPr>
        <p:spPr bwMode="auto">
          <a:xfrm>
            <a:off x="7735103" y="3155243"/>
            <a:ext cx="280128" cy="371033"/>
          </a:xfrm>
          <a:custGeom>
            <a:avLst/>
            <a:gdLst>
              <a:gd name="T0" fmla="*/ 97 w 107"/>
              <a:gd name="T1" fmla="*/ 0 h 141"/>
              <a:gd name="T2" fmla="*/ 0 w 107"/>
              <a:gd name="T3" fmla="*/ 0 h 141"/>
              <a:gd name="T4" fmla="*/ 0 w 107"/>
              <a:gd name="T5" fmla="*/ 141 h 141"/>
              <a:gd name="T6" fmla="*/ 97 w 107"/>
              <a:gd name="T7" fmla="*/ 141 h 141"/>
              <a:gd name="T8" fmla="*/ 107 w 107"/>
              <a:gd name="T9" fmla="*/ 130 h 141"/>
              <a:gd name="T10" fmla="*/ 107 w 107"/>
              <a:gd name="T11" fmla="*/ 10 h 141"/>
              <a:gd name="T12" fmla="*/ 97 w 107"/>
              <a:gd name="T13" fmla="*/ 0 h 141"/>
            </a:gdLst>
            <a:ahLst/>
            <a:cxnLst>
              <a:cxn ang="0">
                <a:pos x="T0" y="T1"/>
              </a:cxn>
              <a:cxn ang="0">
                <a:pos x="T2" y="T3"/>
              </a:cxn>
              <a:cxn ang="0">
                <a:pos x="T4" y="T5"/>
              </a:cxn>
              <a:cxn ang="0">
                <a:pos x="T6" y="T7"/>
              </a:cxn>
              <a:cxn ang="0">
                <a:pos x="T8" y="T9"/>
              </a:cxn>
              <a:cxn ang="0">
                <a:pos x="T10" y="T11"/>
              </a:cxn>
              <a:cxn ang="0">
                <a:pos x="T12" y="T13"/>
              </a:cxn>
            </a:cxnLst>
            <a:rect l="0" t="0" r="r" b="b"/>
            <a:pathLst>
              <a:path w="107" h="141">
                <a:moveTo>
                  <a:pt x="97" y="0"/>
                </a:moveTo>
                <a:cubicBezTo>
                  <a:pt x="0" y="0"/>
                  <a:pt x="0" y="0"/>
                  <a:pt x="0" y="0"/>
                </a:cubicBezTo>
                <a:cubicBezTo>
                  <a:pt x="0" y="141"/>
                  <a:pt x="0" y="141"/>
                  <a:pt x="0" y="141"/>
                </a:cubicBezTo>
                <a:cubicBezTo>
                  <a:pt x="97" y="141"/>
                  <a:pt x="97" y="141"/>
                  <a:pt x="97" y="141"/>
                </a:cubicBezTo>
                <a:cubicBezTo>
                  <a:pt x="102" y="141"/>
                  <a:pt x="107" y="136"/>
                  <a:pt x="107" y="130"/>
                </a:cubicBezTo>
                <a:cubicBezTo>
                  <a:pt x="107" y="10"/>
                  <a:pt x="107" y="10"/>
                  <a:pt x="107" y="10"/>
                </a:cubicBezTo>
                <a:cubicBezTo>
                  <a:pt x="107" y="5"/>
                  <a:pt x="102" y="0"/>
                  <a:pt x="97"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3" name="Freeform 70"/>
          <p:cNvSpPr>
            <a:spLocks/>
          </p:cNvSpPr>
          <p:nvPr userDrawn="1"/>
        </p:nvSpPr>
        <p:spPr bwMode="auto">
          <a:xfrm>
            <a:off x="7795671" y="3249893"/>
            <a:ext cx="158992" cy="79508"/>
          </a:xfrm>
          <a:custGeom>
            <a:avLst/>
            <a:gdLst>
              <a:gd name="T0" fmla="*/ 61 w 61"/>
              <a:gd name="T1" fmla="*/ 26 h 30"/>
              <a:gd name="T2" fmla="*/ 57 w 61"/>
              <a:gd name="T3" fmla="*/ 30 h 30"/>
              <a:gd name="T4" fmla="*/ 5 w 61"/>
              <a:gd name="T5" fmla="*/ 30 h 30"/>
              <a:gd name="T6" fmla="*/ 0 w 61"/>
              <a:gd name="T7" fmla="*/ 26 h 30"/>
              <a:gd name="T8" fmla="*/ 0 w 61"/>
              <a:gd name="T9" fmla="*/ 5 h 30"/>
              <a:gd name="T10" fmla="*/ 5 w 61"/>
              <a:gd name="T11" fmla="*/ 0 h 30"/>
              <a:gd name="T12" fmla="*/ 57 w 61"/>
              <a:gd name="T13" fmla="*/ 0 h 30"/>
              <a:gd name="T14" fmla="*/ 61 w 61"/>
              <a:gd name="T15" fmla="*/ 5 h 30"/>
              <a:gd name="T16" fmla="*/ 61 w 61"/>
              <a:gd name="T17"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30">
                <a:moveTo>
                  <a:pt x="61" y="26"/>
                </a:moveTo>
                <a:cubicBezTo>
                  <a:pt x="61" y="28"/>
                  <a:pt x="59" y="30"/>
                  <a:pt x="57" y="30"/>
                </a:cubicBezTo>
                <a:cubicBezTo>
                  <a:pt x="5" y="30"/>
                  <a:pt x="5" y="30"/>
                  <a:pt x="5" y="30"/>
                </a:cubicBezTo>
                <a:cubicBezTo>
                  <a:pt x="2" y="30"/>
                  <a:pt x="0" y="28"/>
                  <a:pt x="0" y="26"/>
                </a:cubicBezTo>
                <a:cubicBezTo>
                  <a:pt x="0" y="5"/>
                  <a:pt x="0" y="5"/>
                  <a:pt x="0" y="5"/>
                </a:cubicBezTo>
                <a:cubicBezTo>
                  <a:pt x="0" y="2"/>
                  <a:pt x="2" y="0"/>
                  <a:pt x="5" y="0"/>
                </a:cubicBezTo>
                <a:cubicBezTo>
                  <a:pt x="57" y="0"/>
                  <a:pt x="57" y="0"/>
                  <a:pt x="57" y="0"/>
                </a:cubicBezTo>
                <a:cubicBezTo>
                  <a:pt x="59" y="0"/>
                  <a:pt x="61" y="2"/>
                  <a:pt x="61" y="5"/>
                </a:cubicBezTo>
                <a:lnTo>
                  <a:pt x="61"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4" name="Freeform 71"/>
          <p:cNvSpPr>
            <a:spLocks/>
          </p:cNvSpPr>
          <p:nvPr userDrawn="1"/>
        </p:nvSpPr>
        <p:spPr bwMode="auto">
          <a:xfrm>
            <a:off x="7708603" y="3208247"/>
            <a:ext cx="52997" cy="15145"/>
          </a:xfrm>
          <a:custGeom>
            <a:avLst/>
            <a:gdLst>
              <a:gd name="T0" fmla="*/ 17 w 20"/>
              <a:gd name="T1" fmla="*/ 7 h 7"/>
              <a:gd name="T2" fmla="*/ 4 w 20"/>
              <a:gd name="T3" fmla="*/ 7 h 7"/>
              <a:gd name="T4" fmla="*/ 0 w 20"/>
              <a:gd name="T5" fmla="*/ 3 h 7"/>
              <a:gd name="T6" fmla="*/ 4 w 20"/>
              <a:gd name="T7" fmla="*/ 0 h 7"/>
              <a:gd name="T8" fmla="*/ 17 w 20"/>
              <a:gd name="T9" fmla="*/ 0 h 7"/>
              <a:gd name="T10" fmla="*/ 20 w 20"/>
              <a:gd name="T11" fmla="*/ 3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5"/>
                  <a:pt x="0" y="3"/>
                </a:cubicBezTo>
                <a:cubicBezTo>
                  <a:pt x="0" y="2"/>
                  <a:pt x="2" y="0"/>
                  <a:pt x="4" y="0"/>
                </a:cubicBezTo>
                <a:cubicBezTo>
                  <a:pt x="17" y="0"/>
                  <a:pt x="17" y="0"/>
                  <a:pt x="17" y="0"/>
                </a:cubicBezTo>
                <a:cubicBezTo>
                  <a:pt x="19" y="0"/>
                  <a:pt x="20" y="2"/>
                  <a:pt x="20" y="3"/>
                </a:cubicBezTo>
                <a:cubicBezTo>
                  <a:pt x="20" y="5"/>
                  <a:pt x="19"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5" name="Freeform 72"/>
          <p:cNvSpPr>
            <a:spLocks/>
          </p:cNvSpPr>
          <p:nvPr userDrawn="1"/>
        </p:nvSpPr>
        <p:spPr bwMode="auto">
          <a:xfrm>
            <a:off x="7708603" y="3242320"/>
            <a:ext cx="52997" cy="18931"/>
          </a:xfrm>
          <a:custGeom>
            <a:avLst/>
            <a:gdLst>
              <a:gd name="T0" fmla="*/ 17 w 20"/>
              <a:gd name="T1" fmla="*/ 7 h 7"/>
              <a:gd name="T2" fmla="*/ 4 w 20"/>
              <a:gd name="T3" fmla="*/ 7 h 7"/>
              <a:gd name="T4" fmla="*/ 0 w 20"/>
              <a:gd name="T5" fmla="*/ 3 h 7"/>
              <a:gd name="T6" fmla="*/ 4 w 20"/>
              <a:gd name="T7" fmla="*/ 0 h 7"/>
              <a:gd name="T8" fmla="*/ 17 w 20"/>
              <a:gd name="T9" fmla="*/ 0 h 7"/>
              <a:gd name="T10" fmla="*/ 20 w 20"/>
              <a:gd name="T11" fmla="*/ 3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5"/>
                  <a:pt x="0" y="3"/>
                </a:cubicBezTo>
                <a:cubicBezTo>
                  <a:pt x="0" y="1"/>
                  <a:pt x="2" y="0"/>
                  <a:pt x="4" y="0"/>
                </a:cubicBezTo>
                <a:cubicBezTo>
                  <a:pt x="17" y="0"/>
                  <a:pt x="17" y="0"/>
                  <a:pt x="17" y="0"/>
                </a:cubicBezTo>
                <a:cubicBezTo>
                  <a:pt x="19" y="0"/>
                  <a:pt x="20" y="1"/>
                  <a:pt x="20" y="3"/>
                </a:cubicBezTo>
                <a:cubicBezTo>
                  <a:pt x="20" y="5"/>
                  <a:pt x="19"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6" name="Freeform 73"/>
          <p:cNvSpPr>
            <a:spLocks/>
          </p:cNvSpPr>
          <p:nvPr userDrawn="1"/>
        </p:nvSpPr>
        <p:spPr bwMode="auto">
          <a:xfrm>
            <a:off x="7708603" y="3276396"/>
            <a:ext cx="52997" cy="18931"/>
          </a:xfrm>
          <a:custGeom>
            <a:avLst/>
            <a:gdLst>
              <a:gd name="T0" fmla="*/ 17 w 20"/>
              <a:gd name="T1" fmla="*/ 7 h 7"/>
              <a:gd name="T2" fmla="*/ 4 w 20"/>
              <a:gd name="T3" fmla="*/ 7 h 7"/>
              <a:gd name="T4" fmla="*/ 0 w 20"/>
              <a:gd name="T5" fmla="*/ 4 h 7"/>
              <a:gd name="T6" fmla="*/ 4 w 20"/>
              <a:gd name="T7" fmla="*/ 0 h 7"/>
              <a:gd name="T8" fmla="*/ 17 w 20"/>
              <a:gd name="T9" fmla="*/ 0 h 7"/>
              <a:gd name="T10" fmla="*/ 20 w 20"/>
              <a:gd name="T11" fmla="*/ 4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6"/>
                  <a:pt x="0" y="4"/>
                </a:cubicBezTo>
                <a:cubicBezTo>
                  <a:pt x="0" y="2"/>
                  <a:pt x="2" y="0"/>
                  <a:pt x="4" y="0"/>
                </a:cubicBezTo>
                <a:cubicBezTo>
                  <a:pt x="17" y="0"/>
                  <a:pt x="17" y="0"/>
                  <a:pt x="17" y="0"/>
                </a:cubicBezTo>
                <a:cubicBezTo>
                  <a:pt x="19" y="0"/>
                  <a:pt x="20" y="2"/>
                  <a:pt x="20" y="4"/>
                </a:cubicBezTo>
                <a:cubicBezTo>
                  <a:pt x="20" y="6"/>
                  <a:pt x="19"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7" name="Freeform 74"/>
          <p:cNvSpPr>
            <a:spLocks/>
          </p:cNvSpPr>
          <p:nvPr userDrawn="1"/>
        </p:nvSpPr>
        <p:spPr bwMode="auto">
          <a:xfrm>
            <a:off x="7708603" y="3314257"/>
            <a:ext cx="52997" cy="18931"/>
          </a:xfrm>
          <a:custGeom>
            <a:avLst/>
            <a:gdLst>
              <a:gd name="T0" fmla="*/ 17 w 20"/>
              <a:gd name="T1" fmla="*/ 7 h 7"/>
              <a:gd name="T2" fmla="*/ 4 w 20"/>
              <a:gd name="T3" fmla="*/ 7 h 7"/>
              <a:gd name="T4" fmla="*/ 0 w 20"/>
              <a:gd name="T5" fmla="*/ 3 h 7"/>
              <a:gd name="T6" fmla="*/ 4 w 20"/>
              <a:gd name="T7" fmla="*/ 0 h 7"/>
              <a:gd name="T8" fmla="*/ 17 w 20"/>
              <a:gd name="T9" fmla="*/ 0 h 7"/>
              <a:gd name="T10" fmla="*/ 20 w 20"/>
              <a:gd name="T11" fmla="*/ 3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5"/>
                  <a:pt x="0" y="3"/>
                </a:cubicBezTo>
                <a:cubicBezTo>
                  <a:pt x="0" y="2"/>
                  <a:pt x="2" y="0"/>
                  <a:pt x="4" y="0"/>
                </a:cubicBezTo>
                <a:cubicBezTo>
                  <a:pt x="17" y="0"/>
                  <a:pt x="17" y="0"/>
                  <a:pt x="17" y="0"/>
                </a:cubicBezTo>
                <a:cubicBezTo>
                  <a:pt x="19" y="0"/>
                  <a:pt x="20" y="2"/>
                  <a:pt x="20" y="3"/>
                </a:cubicBezTo>
                <a:cubicBezTo>
                  <a:pt x="20" y="5"/>
                  <a:pt x="19"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8" name="Freeform 75"/>
          <p:cNvSpPr>
            <a:spLocks/>
          </p:cNvSpPr>
          <p:nvPr userDrawn="1"/>
        </p:nvSpPr>
        <p:spPr bwMode="auto">
          <a:xfrm>
            <a:off x="7708603" y="3352117"/>
            <a:ext cx="52997" cy="18931"/>
          </a:xfrm>
          <a:custGeom>
            <a:avLst/>
            <a:gdLst>
              <a:gd name="T0" fmla="*/ 17 w 20"/>
              <a:gd name="T1" fmla="*/ 7 h 7"/>
              <a:gd name="T2" fmla="*/ 4 w 20"/>
              <a:gd name="T3" fmla="*/ 7 h 7"/>
              <a:gd name="T4" fmla="*/ 0 w 20"/>
              <a:gd name="T5" fmla="*/ 3 h 7"/>
              <a:gd name="T6" fmla="*/ 4 w 20"/>
              <a:gd name="T7" fmla="*/ 0 h 7"/>
              <a:gd name="T8" fmla="*/ 17 w 20"/>
              <a:gd name="T9" fmla="*/ 0 h 7"/>
              <a:gd name="T10" fmla="*/ 20 w 20"/>
              <a:gd name="T11" fmla="*/ 3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5"/>
                  <a:pt x="0" y="3"/>
                </a:cubicBezTo>
                <a:cubicBezTo>
                  <a:pt x="0" y="1"/>
                  <a:pt x="2" y="0"/>
                  <a:pt x="4" y="0"/>
                </a:cubicBezTo>
                <a:cubicBezTo>
                  <a:pt x="17" y="0"/>
                  <a:pt x="17" y="0"/>
                  <a:pt x="17" y="0"/>
                </a:cubicBezTo>
                <a:cubicBezTo>
                  <a:pt x="19" y="0"/>
                  <a:pt x="20" y="1"/>
                  <a:pt x="20" y="3"/>
                </a:cubicBezTo>
                <a:cubicBezTo>
                  <a:pt x="20" y="5"/>
                  <a:pt x="19"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9" name="Freeform 76"/>
          <p:cNvSpPr>
            <a:spLocks/>
          </p:cNvSpPr>
          <p:nvPr userDrawn="1"/>
        </p:nvSpPr>
        <p:spPr bwMode="auto">
          <a:xfrm>
            <a:off x="7708603" y="3386190"/>
            <a:ext cx="52997" cy="18931"/>
          </a:xfrm>
          <a:custGeom>
            <a:avLst/>
            <a:gdLst>
              <a:gd name="T0" fmla="*/ 17 w 20"/>
              <a:gd name="T1" fmla="*/ 7 h 7"/>
              <a:gd name="T2" fmla="*/ 4 w 20"/>
              <a:gd name="T3" fmla="*/ 7 h 7"/>
              <a:gd name="T4" fmla="*/ 0 w 20"/>
              <a:gd name="T5" fmla="*/ 4 h 7"/>
              <a:gd name="T6" fmla="*/ 4 w 20"/>
              <a:gd name="T7" fmla="*/ 0 h 7"/>
              <a:gd name="T8" fmla="*/ 17 w 20"/>
              <a:gd name="T9" fmla="*/ 0 h 7"/>
              <a:gd name="T10" fmla="*/ 20 w 20"/>
              <a:gd name="T11" fmla="*/ 4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6"/>
                  <a:pt x="0" y="4"/>
                </a:cubicBezTo>
                <a:cubicBezTo>
                  <a:pt x="0" y="2"/>
                  <a:pt x="2" y="0"/>
                  <a:pt x="4" y="0"/>
                </a:cubicBezTo>
                <a:cubicBezTo>
                  <a:pt x="17" y="0"/>
                  <a:pt x="17" y="0"/>
                  <a:pt x="17" y="0"/>
                </a:cubicBezTo>
                <a:cubicBezTo>
                  <a:pt x="19" y="0"/>
                  <a:pt x="20" y="2"/>
                  <a:pt x="20" y="4"/>
                </a:cubicBezTo>
                <a:cubicBezTo>
                  <a:pt x="20" y="6"/>
                  <a:pt x="19"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0" name="Freeform 77"/>
          <p:cNvSpPr>
            <a:spLocks/>
          </p:cNvSpPr>
          <p:nvPr userDrawn="1"/>
        </p:nvSpPr>
        <p:spPr bwMode="auto">
          <a:xfrm>
            <a:off x="7708603" y="3420265"/>
            <a:ext cx="52997" cy="18931"/>
          </a:xfrm>
          <a:custGeom>
            <a:avLst/>
            <a:gdLst>
              <a:gd name="T0" fmla="*/ 17 w 20"/>
              <a:gd name="T1" fmla="*/ 7 h 7"/>
              <a:gd name="T2" fmla="*/ 4 w 20"/>
              <a:gd name="T3" fmla="*/ 7 h 7"/>
              <a:gd name="T4" fmla="*/ 0 w 20"/>
              <a:gd name="T5" fmla="*/ 3 h 7"/>
              <a:gd name="T6" fmla="*/ 4 w 20"/>
              <a:gd name="T7" fmla="*/ 0 h 7"/>
              <a:gd name="T8" fmla="*/ 17 w 20"/>
              <a:gd name="T9" fmla="*/ 0 h 7"/>
              <a:gd name="T10" fmla="*/ 20 w 20"/>
              <a:gd name="T11" fmla="*/ 3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5"/>
                  <a:pt x="0" y="3"/>
                </a:cubicBezTo>
                <a:cubicBezTo>
                  <a:pt x="0" y="2"/>
                  <a:pt x="2" y="0"/>
                  <a:pt x="4" y="0"/>
                </a:cubicBezTo>
                <a:cubicBezTo>
                  <a:pt x="17" y="0"/>
                  <a:pt x="17" y="0"/>
                  <a:pt x="17" y="0"/>
                </a:cubicBezTo>
                <a:cubicBezTo>
                  <a:pt x="19" y="0"/>
                  <a:pt x="20" y="2"/>
                  <a:pt x="20" y="3"/>
                </a:cubicBezTo>
                <a:cubicBezTo>
                  <a:pt x="20" y="5"/>
                  <a:pt x="19"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1" name="Freeform 78"/>
          <p:cNvSpPr>
            <a:spLocks/>
          </p:cNvSpPr>
          <p:nvPr userDrawn="1"/>
        </p:nvSpPr>
        <p:spPr bwMode="auto">
          <a:xfrm>
            <a:off x="7708603" y="3458127"/>
            <a:ext cx="52997" cy="18931"/>
          </a:xfrm>
          <a:custGeom>
            <a:avLst/>
            <a:gdLst>
              <a:gd name="T0" fmla="*/ 17 w 20"/>
              <a:gd name="T1" fmla="*/ 7 h 7"/>
              <a:gd name="T2" fmla="*/ 4 w 20"/>
              <a:gd name="T3" fmla="*/ 7 h 7"/>
              <a:gd name="T4" fmla="*/ 0 w 20"/>
              <a:gd name="T5" fmla="*/ 3 h 7"/>
              <a:gd name="T6" fmla="*/ 4 w 20"/>
              <a:gd name="T7" fmla="*/ 0 h 7"/>
              <a:gd name="T8" fmla="*/ 17 w 20"/>
              <a:gd name="T9" fmla="*/ 0 h 7"/>
              <a:gd name="T10" fmla="*/ 20 w 20"/>
              <a:gd name="T11" fmla="*/ 3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5"/>
                  <a:pt x="0" y="3"/>
                </a:cubicBezTo>
                <a:cubicBezTo>
                  <a:pt x="0" y="1"/>
                  <a:pt x="2" y="0"/>
                  <a:pt x="4" y="0"/>
                </a:cubicBezTo>
                <a:cubicBezTo>
                  <a:pt x="17" y="0"/>
                  <a:pt x="17" y="0"/>
                  <a:pt x="17" y="0"/>
                </a:cubicBezTo>
                <a:cubicBezTo>
                  <a:pt x="19" y="0"/>
                  <a:pt x="20" y="1"/>
                  <a:pt x="20" y="3"/>
                </a:cubicBezTo>
                <a:cubicBezTo>
                  <a:pt x="20" y="5"/>
                  <a:pt x="19"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2" name="Freeform 79"/>
          <p:cNvSpPr>
            <a:spLocks/>
          </p:cNvSpPr>
          <p:nvPr userDrawn="1"/>
        </p:nvSpPr>
        <p:spPr bwMode="auto">
          <a:xfrm>
            <a:off x="8204506" y="3673930"/>
            <a:ext cx="64355" cy="49220"/>
          </a:xfrm>
          <a:custGeom>
            <a:avLst/>
            <a:gdLst>
              <a:gd name="T0" fmla="*/ 0 w 25"/>
              <a:gd name="T1" fmla="*/ 10 h 19"/>
              <a:gd name="T2" fmla="*/ 18 w 25"/>
              <a:gd name="T3" fmla="*/ 18 h 19"/>
              <a:gd name="T4" fmla="*/ 25 w 25"/>
              <a:gd name="T5" fmla="*/ 19 h 19"/>
              <a:gd name="T6" fmla="*/ 24 w 25"/>
              <a:gd name="T7" fmla="*/ 8 h 19"/>
              <a:gd name="T8" fmla="*/ 24 w 25"/>
              <a:gd name="T9" fmla="*/ 9 h 19"/>
              <a:gd name="T10" fmla="*/ 16 w 25"/>
              <a:gd name="T11" fmla="*/ 6 h 19"/>
              <a:gd name="T12" fmla="*/ 0 w 25"/>
              <a:gd name="T13" fmla="*/ 10 h 19"/>
            </a:gdLst>
            <a:ahLst/>
            <a:cxnLst>
              <a:cxn ang="0">
                <a:pos x="T0" y="T1"/>
              </a:cxn>
              <a:cxn ang="0">
                <a:pos x="T2" y="T3"/>
              </a:cxn>
              <a:cxn ang="0">
                <a:pos x="T4" y="T5"/>
              </a:cxn>
              <a:cxn ang="0">
                <a:pos x="T6" y="T7"/>
              </a:cxn>
              <a:cxn ang="0">
                <a:pos x="T8" y="T9"/>
              </a:cxn>
              <a:cxn ang="0">
                <a:pos x="T10" y="T11"/>
              </a:cxn>
              <a:cxn ang="0">
                <a:pos x="T12" y="T13"/>
              </a:cxn>
            </a:cxnLst>
            <a:rect l="0" t="0" r="r" b="b"/>
            <a:pathLst>
              <a:path w="25" h="19">
                <a:moveTo>
                  <a:pt x="0" y="10"/>
                </a:moveTo>
                <a:cubicBezTo>
                  <a:pt x="10" y="9"/>
                  <a:pt x="18" y="18"/>
                  <a:pt x="18" y="18"/>
                </a:cubicBezTo>
                <a:cubicBezTo>
                  <a:pt x="25" y="19"/>
                  <a:pt x="25" y="19"/>
                  <a:pt x="25" y="19"/>
                </a:cubicBezTo>
                <a:cubicBezTo>
                  <a:pt x="24" y="8"/>
                  <a:pt x="24" y="8"/>
                  <a:pt x="24" y="8"/>
                </a:cubicBezTo>
                <a:cubicBezTo>
                  <a:pt x="24" y="8"/>
                  <a:pt x="24" y="9"/>
                  <a:pt x="24" y="9"/>
                </a:cubicBezTo>
                <a:cubicBezTo>
                  <a:pt x="22" y="9"/>
                  <a:pt x="19" y="8"/>
                  <a:pt x="16" y="6"/>
                </a:cubicBezTo>
                <a:cubicBezTo>
                  <a:pt x="9" y="0"/>
                  <a:pt x="0" y="5"/>
                  <a:pt x="0" y="10"/>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3" name="Freeform 80"/>
          <p:cNvSpPr>
            <a:spLocks/>
          </p:cNvSpPr>
          <p:nvPr userDrawn="1"/>
        </p:nvSpPr>
        <p:spPr bwMode="auto">
          <a:xfrm>
            <a:off x="8340784" y="3537632"/>
            <a:ext cx="253630" cy="355889"/>
          </a:xfrm>
          <a:custGeom>
            <a:avLst/>
            <a:gdLst>
              <a:gd name="T0" fmla="*/ 40 w 96"/>
              <a:gd name="T1" fmla="*/ 135 h 135"/>
              <a:gd name="T2" fmla="*/ 24 w 96"/>
              <a:gd name="T3" fmla="*/ 128 h 135"/>
              <a:gd name="T4" fmla="*/ 0 w 96"/>
              <a:gd name="T5" fmla="*/ 87 h 135"/>
              <a:gd name="T6" fmla="*/ 18 w 96"/>
              <a:gd name="T7" fmla="*/ 71 h 135"/>
              <a:gd name="T8" fmla="*/ 34 w 96"/>
              <a:gd name="T9" fmla="*/ 86 h 135"/>
              <a:gd name="T10" fmla="*/ 66 w 96"/>
              <a:gd name="T11" fmla="*/ 0 h 135"/>
              <a:gd name="T12" fmla="*/ 96 w 96"/>
              <a:gd name="T13" fmla="*/ 43 h 135"/>
              <a:gd name="T14" fmla="*/ 59 w 96"/>
              <a:gd name="T15" fmla="*/ 123 h 135"/>
              <a:gd name="T16" fmla="*/ 43 w 96"/>
              <a:gd name="T17" fmla="*/ 135 h 135"/>
              <a:gd name="T18" fmla="*/ 40 w 96"/>
              <a:gd name="T19"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5">
                <a:moveTo>
                  <a:pt x="40" y="135"/>
                </a:moveTo>
                <a:cubicBezTo>
                  <a:pt x="34" y="135"/>
                  <a:pt x="28" y="133"/>
                  <a:pt x="24" y="128"/>
                </a:cubicBezTo>
                <a:cubicBezTo>
                  <a:pt x="0" y="87"/>
                  <a:pt x="0" y="87"/>
                  <a:pt x="0" y="87"/>
                </a:cubicBezTo>
                <a:cubicBezTo>
                  <a:pt x="18" y="71"/>
                  <a:pt x="18" y="71"/>
                  <a:pt x="18" y="71"/>
                </a:cubicBezTo>
                <a:cubicBezTo>
                  <a:pt x="34" y="86"/>
                  <a:pt x="34" y="86"/>
                  <a:pt x="34" y="86"/>
                </a:cubicBezTo>
                <a:cubicBezTo>
                  <a:pt x="66" y="0"/>
                  <a:pt x="66" y="0"/>
                  <a:pt x="66" y="0"/>
                </a:cubicBezTo>
                <a:cubicBezTo>
                  <a:pt x="96" y="43"/>
                  <a:pt x="96" y="43"/>
                  <a:pt x="96" y="43"/>
                </a:cubicBezTo>
                <a:cubicBezTo>
                  <a:pt x="59" y="123"/>
                  <a:pt x="59" y="123"/>
                  <a:pt x="59" y="123"/>
                </a:cubicBezTo>
                <a:cubicBezTo>
                  <a:pt x="56" y="129"/>
                  <a:pt x="50" y="134"/>
                  <a:pt x="43" y="135"/>
                </a:cubicBezTo>
                <a:cubicBezTo>
                  <a:pt x="42" y="135"/>
                  <a:pt x="41" y="135"/>
                  <a:pt x="40" y="135"/>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4" name="Freeform 81"/>
          <p:cNvSpPr>
            <a:spLocks/>
          </p:cNvSpPr>
          <p:nvPr userDrawn="1"/>
        </p:nvSpPr>
        <p:spPr bwMode="auto">
          <a:xfrm>
            <a:off x="8340784" y="3537632"/>
            <a:ext cx="253630" cy="355889"/>
          </a:xfrm>
          <a:custGeom>
            <a:avLst/>
            <a:gdLst>
              <a:gd name="T0" fmla="*/ 40 w 96"/>
              <a:gd name="T1" fmla="*/ 135 h 135"/>
              <a:gd name="T2" fmla="*/ 24 w 96"/>
              <a:gd name="T3" fmla="*/ 128 h 135"/>
              <a:gd name="T4" fmla="*/ 0 w 96"/>
              <a:gd name="T5" fmla="*/ 87 h 135"/>
              <a:gd name="T6" fmla="*/ 18 w 96"/>
              <a:gd name="T7" fmla="*/ 71 h 135"/>
              <a:gd name="T8" fmla="*/ 34 w 96"/>
              <a:gd name="T9" fmla="*/ 86 h 135"/>
              <a:gd name="T10" fmla="*/ 66 w 96"/>
              <a:gd name="T11" fmla="*/ 0 h 135"/>
              <a:gd name="T12" fmla="*/ 96 w 96"/>
              <a:gd name="T13" fmla="*/ 43 h 135"/>
              <a:gd name="T14" fmla="*/ 59 w 96"/>
              <a:gd name="T15" fmla="*/ 123 h 135"/>
              <a:gd name="T16" fmla="*/ 43 w 96"/>
              <a:gd name="T17" fmla="*/ 135 h 135"/>
              <a:gd name="T18" fmla="*/ 40 w 96"/>
              <a:gd name="T19"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5">
                <a:moveTo>
                  <a:pt x="40" y="135"/>
                </a:moveTo>
                <a:cubicBezTo>
                  <a:pt x="34" y="135"/>
                  <a:pt x="28" y="133"/>
                  <a:pt x="24" y="128"/>
                </a:cubicBezTo>
                <a:cubicBezTo>
                  <a:pt x="0" y="87"/>
                  <a:pt x="0" y="87"/>
                  <a:pt x="0" y="87"/>
                </a:cubicBezTo>
                <a:cubicBezTo>
                  <a:pt x="18" y="71"/>
                  <a:pt x="18" y="71"/>
                  <a:pt x="18" y="71"/>
                </a:cubicBezTo>
                <a:cubicBezTo>
                  <a:pt x="34" y="86"/>
                  <a:pt x="34" y="86"/>
                  <a:pt x="34" y="86"/>
                </a:cubicBezTo>
                <a:cubicBezTo>
                  <a:pt x="66" y="0"/>
                  <a:pt x="66" y="0"/>
                  <a:pt x="66" y="0"/>
                </a:cubicBezTo>
                <a:cubicBezTo>
                  <a:pt x="96" y="43"/>
                  <a:pt x="96" y="43"/>
                  <a:pt x="96" y="43"/>
                </a:cubicBezTo>
                <a:cubicBezTo>
                  <a:pt x="59" y="123"/>
                  <a:pt x="59" y="123"/>
                  <a:pt x="59" y="123"/>
                </a:cubicBezTo>
                <a:cubicBezTo>
                  <a:pt x="56" y="129"/>
                  <a:pt x="50" y="134"/>
                  <a:pt x="43" y="135"/>
                </a:cubicBezTo>
                <a:cubicBezTo>
                  <a:pt x="42" y="135"/>
                  <a:pt x="41" y="135"/>
                  <a:pt x="40" y="135"/>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5" name="Freeform 82"/>
          <p:cNvSpPr>
            <a:spLocks/>
          </p:cNvSpPr>
          <p:nvPr userDrawn="1"/>
        </p:nvSpPr>
        <p:spPr bwMode="auto">
          <a:xfrm>
            <a:off x="8454350" y="3632285"/>
            <a:ext cx="140065" cy="261238"/>
          </a:xfrm>
          <a:custGeom>
            <a:avLst/>
            <a:gdLst>
              <a:gd name="T0" fmla="*/ 0 w 53"/>
              <a:gd name="T1" fmla="*/ 99 h 99"/>
              <a:gd name="T2" fmla="*/ 16 w 53"/>
              <a:gd name="T3" fmla="*/ 87 h 99"/>
              <a:gd name="T4" fmla="*/ 53 w 53"/>
              <a:gd name="T5" fmla="*/ 7 h 99"/>
              <a:gd name="T6" fmla="*/ 50 w 53"/>
              <a:gd name="T7" fmla="*/ 0 h 99"/>
              <a:gd name="T8" fmla="*/ 0 w 53"/>
              <a:gd name="T9" fmla="*/ 99 h 99"/>
            </a:gdLst>
            <a:ahLst/>
            <a:cxnLst>
              <a:cxn ang="0">
                <a:pos x="T0" y="T1"/>
              </a:cxn>
              <a:cxn ang="0">
                <a:pos x="T2" y="T3"/>
              </a:cxn>
              <a:cxn ang="0">
                <a:pos x="T4" y="T5"/>
              </a:cxn>
              <a:cxn ang="0">
                <a:pos x="T6" y="T7"/>
              </a:cxn>
              <a:cxn ang="0">
                <a:pos x="T8" y="T9"/>
              </a:cxn>
            </a:cxnLst>
            <a:rect l="0" t="0" r="r" b="b"/>
            <a:pathLst>
              <a:path w="53" h="99">
                <a:moveTo>
                  <a:pt x="0" y="99"/>
                </a:moveTo>
                <a:cubicBezTo>
                  <a:pt x="7" y="98"/>
                  <a:pt x="13" y="93"/>
                  <a:pt x="16" y="87"/>
                </a:cubicBezTo>
                <a:cubicBezTo>
                  <a:pt x="53" y="7"/>
                  <a:pt x="53" y="7"/>
                  <a:pt x="53" y="7"/>
                </a:cubicBezTo>
                <a:cubicBezTo>
                  <a:pt x="50" y="0"/>
                  <a:pt x="50" y="0"/>
                  <a:pt x="50" y="0"/>
                </a:cubicBezTo>
                <a:cubicBezTo>
                  <a:pt x="50" y="0"/>
                  <a:pt x="16" y="87"/>
                  <a:pt x="0" y="99"/>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6" name="Freeform 83"/>
          <p:cNvSpPr>
            <a:spLocks/>
          </p:cNvSpPr>
          <p:nvPr userDrawn="1"/>
        </p:nvSpPr>
        <p:spPr bwMode="auto">
          <a:xfrm>
            <a:off x="8431636" y="3537632"/>
            <a:ext cx="105995" cy="234735"/>
          </a:xfrm>
          <a:custGeom>
            <a:avLst/>
            <a:gdLst>
              <a:gd name="T0" fmla="*/ 22 w 28"/>
              <a:gd name="T1" fmla="*/ 0 h 62"/>
              <a:gd name="T2" fmla="*/ 0 w 28"/>
              <a:gd name="T3" fmla="*/ 60 h 62"/>
              <a:gd name="T4" fmla="*/ 4 w 28"/>
              <a:gd name="T5" fmla="*/ 62 h 62"/>
              <a:gd name="T6" fmla="*/ 28 w 28"/>
              <a:gd name="T7" fmla="*/ 8 h 62"/>
              <a:gd name="T8" fmla="*/ 22 w 28"/>
              <a:gd name="T9" fmla="*/ 0 h 62"/>
            </a:gdLst>
            <a:ahLst/>
            <a:cxnLst>
              <a:cxn ang="0">
                <a:pos x="T0" y="T1"/>
              </a:cxn>
              <a:cxn ang="0">
                <a:pos x="T2" y="T3"/>
              </a:cxn>
              <a:cxn ang="0">
                <a:pos x="T4" y="T5"/>
              </a:cxn>
              <a:cxn ang="0">
                <a:pos x="T6" y="T7"/>
              </a:cxn>
              <a:cxn ang="0">
                <a:pos x="T8" y="T9"/>
              </a:cxn>
            </a:cxnLst>
            <a:rect l="0" t="0" r="r" b="b"/>
            <a:pathLst>
              <a:path w="28" h="62">
                <a:moveTo>
                  <a:pt x="22" y="0"/>
                </a:moveTo>
                <a:lnTo>
                  <a:pt x="0" y="60"/>
                </a:lnTo>
                <a:lnTo>
                  <a:pt x="4" y="62"/>
                </a:lnTo>
                <a:lnTo>
                  <a:pt x="28" y="8"/>
                </a:lnTo>
                <a:lnTo>
                  <a:pt x="22" y="0"/>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7" name="Freeform 84"/>
          <p:cNvSpPr>
            <a:spLocks/>
          </p:cNvSpPr>
          <p:nvPr userDrawn="1"/>
        </p:nvSpPr>
        <p:spPr bwMode="auto">
          <a:xfrm>
            <a:off x="8227218" y="3624713"/>
            <a:ext cx="37855" cy="79508"/>
          </a:xfrm>
          <a:custGeom>
            <a:avLst/>
            <a:gdLst>
              <a:gd name="T0" fmla="*/ 10 w 15"/>
              <a:gd name="T1" fmla="*/ 30 h 30"/>
              <a:gd name="T2" fmla="*/ 6 w 15"/>
              <a:gd name="T3" fmla="*/ 26 h 30"/>
              <a:gd name="T4" fmla="*/ 1 w 15"/>
              <a:gd name="T5" fmla="*/ 7 h 30"/>
              <a:gd name="T6" fmla="*/ 4 w 15"/>
              <a:gd name="T7" fmla="*/ 1 h 30"/>
              <a:gd name="T8" fmla="*/ 9 w 15"/>
              <a:gd name="T9" fmla="*/ 4 h 30"/>
              <a:gd name="T10" fmla="*/ 15 w 15"/>
              <a:gd name="T11" fmla="*/ 24 h 30"/>
              <a:gd name="T12" fmla="*/ 12 w 15"/>
              <a:gd name="T13" fmla="*/ 29 h 30"/>
              <a:gd name="T14" fmla="*/ 10 w 15"/>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0">
                <a:moveTo>
                  <a:pt x="10" y="30"/>
                </a:moveTo>
                <a:cubicBezTo>
                  <a:pt x="8" y="30"/>
                  <a:pt x="7" y="28"/>
                  <a:pt x="6" y="26"/>
                </a:cubicBezTo>
                <a:cubicBezTo>
                  <a:pt x="1" y="7"/>
                  <a:pt x="1" y="7"/>
                  <a:pt x="1" y="7"/>
                </a:cubicBezTo>
                <a:cubicBezTo>
                  <a:pt x="0" y="4"/>
                  <a:pt x="1" y="2"/>
                  <a:pt x="4" y="1"/>
                </a:cubicBezTo>
                <a:cubicBezTo>
                  <a:pt x="6" y="0"/>
                  <a:pt x="8" y="2"/>
                  <a:pt x="9" y="4"/>
                </a:cubicBezTo>
                <a:cubicBezTo>
                  <a:pt x="15" y="24"/>
                  <a:pt x="15" y="24"/>
                  <a:pt x="15" y="24"/>
                </a:cubicBezTo>
                <a:cubicBezTo>
                  <a:pt x="15" y="26"/>
                  <a:pt x="14" y="29"/>
                  <a:pt x="12" y="29"/>
                </a:cubicBezTo>
                <a:cubicBezTo>
                  <a:pt x="11" y="29"/>
                  <a:pt x="11" y="30"/>
                  <a:pt x="10" y="30"/>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8" name="Freeform 85"/>
          <p:cNvSpPr>
            <a:spLocks/>
          </p:cNvSpPr>
          <p:nvPr userDrawn="1"/>
        </p:nvSpPr>
        <p:spPr bwMode="auto">
          <a:xfrm>
            <a:off x="8253716" y="3609568"/>
            <a:ext cx="41642" cy="87080"/>
          </a:xfrm>
          <a:custGeom>
            <a:avLst/>
            <a:gdLst>
              <a:gd name="T0" fmla="*/ 11 w 16"/>
              <a:gd name="T1" fmla="*/ 32 h 32"/>
              <a:gd name="T2" fmla="*/ 7 w 16"/>
              <a:gd name="T3" fmla="*/ 28 h 32"/>
              <a:gd name="T4" fmla="*/ 0 w 16"/>
              <a:gd name="T5" fmla="*/ 6 h 32"/>
              <a:gd name="T6" fmla="*/ 3 w 16"/>
              <a:gd name="T7" fmla="*/ 1 h 32"/>
              <a:gd name="T8" fmla="*/ 9 w 16"/>
              <a:gd name="T9" fmla="*/ 4 h 32"/>
              <a:gd name="T10" fmla="*/ 15 w 16"/>
              <a:gd name="T11" fmla="*/ 26 h 32"/>
              <a:gd name="T12" fmla="*/ 12 w 16"/>
              <a:gd name="T13" fmla="*/ 31 h 32"/>
              <a:gd name="T14" fmla="*/ 11 w 16"/>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2">
                <a:moveTo>
                  <a:pt x="11" y="32"/>
                </a:moveTo>
                <a:cubicBezTo>
                  <a:pt x="9" y="32"/>
                  <a:pt x="7" y="30"/>
                  <a:pt x="7" y="28"/>
                </a:cubicBezTo>
                <a:cubicBezTo>
                  <a:pt x="0" y="6"/>
                  <a:pt x="0" y="6"/>
                  <a:pt x="0" y="6"/>
                </a:cubicBezTo>
                <a:cubicBezTo>
                  <a:pt x="0" y="4"/>
                  <a:pt x="1" y="2"/>
                  <a:pt x="3" y="1"/>
                </a:cubicBezTo>
                <a:cubicBezTo>
                  <a:pt x="6" y="0"/>
                  <a:pt x="8" y="2"/>
                  <a:pt x="9" y="4"/>
                </a:cubicBezTo>
                <a:cubicBezTo>
                  <a:pt x="15" y="26"/>
                  <a:pt x="15" y="26"/>
                  <a:pt x="15" y="26"/>
                </a:cubicBezTo>
                <a:cubicBezTo>
                  <a:pt x="16" y="28"/>
                  <a:pt x="15" y="31"/>
                  <a:pt x="12" y="31"/>
                </a:cubicBezTo>
                <a:cubicBezTo>
                  <a:pt x="12" y="32"/>
                  <a:pt x="11" y="32"/>
                  <a:pt x="11" y="32"/>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9" name="Freeform 86"/>
          <p:cNvSpPr>
            <a:spLocks/>
          </p:cNvSpPr>
          <p:nvPr userDrawn="1"/>
        </p:nvSpPr>
        <p:spPr bwMode="auto">
          <a:xfrm>
            <a:off x="8287787" y="3609568"/>
            <a:ext cx="34071" cy="75721"/>
          </a:xfrm>
          <a:custGeom>
            <a:avLst/>
            <a:gdLst>
              <a:gd name="T0" fmla="*/ 9 w 14"/>
              <a:gd name="T1" fmla="*/ 29 h 29"/>
              <a:gd name="T2" fmla="*/ 5 w 14"/>
              <a:gd name="T3" fmla="*/ 26 h 29"/>
              <a:gd name="T4" fmla="*/ 0 w 14"/>
              <a:gd name="T5" fmla="*/ 6 h 29"/>
              <a:gd name="T6" fmla="*/ 4 w 14"/>
              <a:gd name="T7" fmla="*/ 1 h 29"/>
              <a:gd name="T8" fmla="*/ 9 w 14"/>
              <a:gd name="T9" fmla="*/ 4 h 29"/>
              <a:gd name="T10" fmla="*/ 14 w 14"/>
              <a:gd name="T11" fmla="*/ 24 h 29"/>
              <a:gd name="T12" fmla="*/ 10 w 14"/>
              <a:gd name="T13" fmla="*/ 29 h 29"/>
              <a:gd name="T14" fmla="*/ 9 w 14"/>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29">
                <a:moveTo>
                  <a:pt x="9" y="29"/>
                </a:moveTo>
                <a:cubicBezTo>
                  <a:pt x="7" y="29"/>
                  <a:pt x="5" y="28"/>
                  <a:pt x="5" y="26"/>
                </a:cubicBezTo>
                <a:cubicBezTo>
                  <a:pt x="0" y="6"/>
                  <a:pt x="0" y="6"/>
                  <a:pt x="0" y="6"/>
                </a:cubicBezTo>
                <a:cubicBezTo>
                  <a:pt x="0" y="4"/>
                  <a:pt x="1" y="1"/>
                  <a:pt x="4" y="1"/>
                </a:cubicBezTo>
                <a:cubicBezTo>
                  <a:pt x="6" y="0"/>
                  <a:pt x="9" y="2"/>
                  <a:pt x="9" y="4"/>
                </a:cubicBezTo>
                <a:cubicBezTo>
                  <a:pt x="14" y="24"/>
                  <a:pt x="14" y="24"/>
                  <a:pt x="14" y="24"/>
                </a:cubicBezTo>
                <a:cubicBezTo>
                  <a:pt x="14" y="26"/>
                  <a:pt x="13" y="29"/>
                  <a:pt x="10" y="29"/>
                </a:cubicBezTo>
                <a:cubicBezTo>
                  <a:pt x="10" y="29"/>
                  <a:pt x="9" y="29"/>
                  <a:pt x="9" y="2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0" name="Freeform 87"/>
          <p:cNvSpPr>
            <a:spLocks/>
          </p:cNvSpPr>
          <p:nvPr userDrawn="1"/>
        </p:nvSpPr>
        <p:spPr bwMode="auto">
          <a:xfrm>
            <a:off x="8321855" y="3632284"/>
            <a:ext cx="37855" cy="75721"/>
          </a:xfrm>
          <a:custGeom>
            <a:avLst/>
            <a:gdLst>
              <a:gd name="T0" fmla="*/ 8 w 13"/>
              <a:gd name="T1" fmla="*/ 29 h 29"/>
              <a:gd name="T2" fmla="*/ 4 w 13"/>
              <a:gd name="T3" fmla="*/ 25 h 29"/>
              <a:gd name="T4" fmla="*/ 1 w 13"/>
              <a:gd name="T5" fmla="*/ 5 h 29"/>
              <a:gd name="T6" fmla="*/ 4 w 13"/>
              <a:gd name="T7" fmla="*/ 0 h 29"/>
              <a:gd name="T8" fmla="*/ 9 w 13"/>
              <a:gd name="T9" fmla="*/ 4 h 29"/>
              <a:gd name="T10" fmla="*/ 13 w 13"/>
              <a:gd name="T11" fmla="*/ 24 h 29"/>
              <a:gd name="T12" fmla="*/ 9 w 13"/>
              <a:gd name="T13" fmla="*/ 29 h 29"/>
              <a:gd name="T14" fmla="*/ 8 w 13"/>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29">
                <a:moveTo>
                  <a:pt x="8" y="29"/>
                </a:moveTo>
                <a:cubicBezTo>
                  <a:pt x="6" y="29"/>
                  <a:pt x="4" y="27"/>
                  <a:pt x="4" y="25"/>
                </a:cubicBezTo>
                <a:cubicBezTo>
                  <a:pt x="1" y="5"/>
                  <a:pt x="1" y="5"/>
                  <a:pt x="1" y="5"/>
                </a:cubicBezTo>
                <a:cubicBezTo>
                  <a:pt x="0" y="3"/>
                  <a:pt x="2" y="0"/>
                  <a:pt x="4" y="0"/>
                </a:cubicBezTo>
                <a:cubicBezTo>
                  <a:pt x="7" y="0"/>
                  <a:pt x="9" y="1"/>
                  <a:pt x="9" y="4"/>
                </a:cubicBezTo>
                <a:cubicBezTo>
                  <a:pt x="13" y="24"/>
                  <a:pt x="13" y="24"/>
                  <a:pt x="13" y="24"/>
                </a:cubicBezTo>
                <a:cubicBezTo>
                  <a:pt x="13" y="26"/>
                  <a:pt x="11" y="28"/>
                  <a:pt x="9" y="29"/>
                </a:cubicBezTo>
                <a:cubicBezTo>
                  <a:pt x="8" y="29"/>
                  <a:pt x="8" y="29"/>
                  <a:pt x="8" y="2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1" name="Freeform 88"/>
          <p:cNvSpPr>
            <a:spLocks/>
          </p:cNvSpPr>
          <p:nvPr userDrawn="1"/>
        </p:nvSpPr>
        <p:spPr bwMode="auto">
          <a:xfrm>
            <a:off x="8242361" y="3666359"/>
            <a:ext cx="155207" cy="117368"/>
          </a:xfrm>
          <a:custGeom>
            <a:avLst/>
            <a:gdLst>
              <a:gd name="T0" fmla="*/ 1 w 59"/>
              <a:gd name="T1" fmla="*/ 10 h 44"/>
              <a:gd name="T2" fmla="*/ 53 w 59"/>
              <a:gd name="T3" fmla="*/ 38 h 44"/>
              <a:gd name="T4" fmla="*/ 55 w 59"/>
              <a:gd name="T5" fmla="*/ 19 h 44"/>
              <a:gd name="T6" fmla="*/ 41 w 59"/>
              <a:gd name="T7" fmla="*/ 0 h 44"/>
              <a:gd name="T8" fmla="*/ 1 w 59"/>
              <a:gd name="T9" fmla="*/ 9 h 44"/>
              <a:gd name="T10" fmla="*/ 1 w 59"/>
              <a:gd name="T11" fmla="*/ 10 h 44"/>
            </a:gdLst>
            <a:ahLst/>
            <a:cxnLst>
              <a:cxn ang="0">
                <a:pos x="T0" y="T1"/>
              </a:cxn>
              <a:cxn ang="0">
                <a:pos x="T2" y="T3"/>
              </a:cxn>
              <a:cxn ang="0">
                <a:pos x="T4" y="T5"/>
              </a:cxn>
              <a:cxn ang="0">
                <a:pos x="T6" y="T7"/>
              </a:cxn>
              <a:cxn ang="0">
                <a:pos x="T8" y="T9"/>
              </a:cxn>
              <a:cxn ang="0">
                <a:pos x="T10" y="T11"/>
              </a:cxn>
            </a:cxnLst>
            <a:rect l="0" t="0" r="r" b="b"/>
            <a:pathLst>
              <a:path w="59" h="44">
                <a:moveTo>
                  <a:pt x="1" y="10"/>
                </a:moveTo>
                <a:cubicBezTo>
                  <a:pt x="5" y="17"/>
                  <a:pt x="26" y="44"/>
                  <a:pt x="53" y="38"/>
                </a:cubicBezTo>
                <a:cubicBezTo>
                  <a:pt x="59" y="36"/>
                  <a:pt x="58" y="29"/>
                  <a:pt x="55" y="19"/>
                </a:cubicBezTo>
                <a:cubicBezTo>
                  <a:pt x="52" y="9"/>
                  <a:pt x="41" y="0"/>
                  <a:pt x="41" y="0"/>
                </a:cubicBezTo>
                <a:cubicBezTo>
                  <a:pt x="1" y="9"/>
                  <a:pt x="1" y="9"/>
                  <a:pt x="1" y="9"/>
                </a:cubicBezTo>
                <a:cubicBezTo>
                  <a:pt x="1" y="9"/>
                  <a:pt x="0" y="9"/>
                  <a:pt x="1" y="10"/>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2" name="Freeform 89"/>
          <p:cNvSpPr>
            <a:spLocks/>
          </p:cNvSpPr>
          <p:nvPr userDrawn="1"/>
        </p:nvSpPr>
        <p:spPr bwMode="auto">
          <a:xfrm>
            <a:off x="9347730" y="3863233"/>
            <a:ext cx="71926" cy="41648"/>
          </a:xfrm>
          <a:custGeom>
            <a:avLst/>
            <a:gdLst>
              <a:gd name="T0" fmla="*/ 26 w 27"/>
              <a:gd name="T1" fmla="*/ 12 h 16"/>
              <a:gd name="T2" fmla="*/ 7 w 27"/>
              <a:gd name="T3" fmla="*/ 16 h 16"/>
              <a:gd name="T4" fmla="*/ 0 w 27"/>
              <a:gd name="T5" fmla="*/ 16 h 16"/>
              <a:gd name="T6" fmla="*/ 2 w 27"/>
              <a:gd name="T7" fmla="*/ 5 h 16"/>
              <a:gd name="T8" fmla="*/ 3 w 27"/>
              <a:gd name="T9" fmla="*/ 5 h 16"/>
              <a:gd name="T10" fmla="*/ 11 w 27"/>
              <a:gd name="T11" fmla="*/ 5 h 16"/>
              <a:gd name="T12" fmla="*/ 26 w 27"/>
              <a:gd name="T13" fmla="*/ 12 h 16"/>
            </a:gdLst>
            <a:ahLst/>
            <a:cxnLst>
              <a:cxn ang="0">
                <a:pos x="T0" y="T1"/>
              </a:cxn>
              <a:cxn ang="0">
                <a:pos x="T2" y="T3"/>
              </a:cxn>
              <a:cxn ang="0">
                <a:pos x="T4" y="T5"/>
              </a:cxn>
              <a:cxn ang="0">
                <a:pos x="T6" y="T7"/>
              </a:cxn>
              <a:cxn ang="0">
                <a:pos x="T8" y="T9"/>
              </a:cxn>
              <a:cxn ang="0">
                <a:pos x="T10" y="T11"/>
              </a:cxn>
              <a:cxn ang="0">
                <a:pos x="T12" y="T13"/>
              </a:cxn>
            </a:cxnLst>
            <a:rect l="0" t="0" r="r" b="b"/>
            <a:pathLst>
              <a:path w="27" h="16">
                <a:moveTo>
                  <a:pt x="26" y="12"/>
                </a:moveTo>
                <a:cubicBezTo>
                  <a:pt x="16" y="9"/>
                  <a:pt x="7" y="16"/>
                  <a:pt x="7" y="16"/>
                </a:cubicBezTo>
                <a:cubicBezTo>
                  <a:pt x="0" y="16"/>
                  <a:pt x="0" y="16"/>
                  <a:pt x="0" y="16"/>
                </a:cubicBezTo>
                <a:cubicBezTo>
                  <a:pt x="2" y="5"/>
                  <a:pt x="2" y="5"/>
                  <a:pt x="2" y="5"/>
                </a:cubicBezTo>
                <a:cubicBezTo>
                  <a:pt x="3" y="5"/>
                  <a:pt x="3" y="5"/>
                  <a:pt x="3" y="5"/>
                </a:cubicBezTo>
                <a:cubicBezTo>
                  <a:pt x="4" y="6"/>
                  <a:pt x="8" y="6"/>
                  <a:pt x="11" y="5"/>
                </a:cubicBezTo>
                <a:cubicBezTo>
                  <a:pt x="19" y="0"/>
                  <a:pt x="27" y="7"/>
                  <a:pt x="26" y="12"/>
                </a:cubicBez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3" name="Freeform 90"/>
          <p:cNvSpPr>
            <a:spLocks/>
          </p:cNvSpPr>
          <p:nvPr userDrawn="1"/>
        </p:nvSpPr>
        <p:spPr bwMode="auto">
          <a:xfrm>
            <a:off x="8950251" y="3537632"/>
            <a:ext cx="317983" cy="393749"/>
          </a:xfrm>
          <a:custGeom>
            <a:avLst/>
            <a:gdLst>
              <a:gd name="T0" fmla="*/ 56 w 121"/>
              <a:gd name="T1" fmla="*/ 135 h 150"/>
              <a:gd name="T2" fmla="*/ 63 w 121"/>
              <a:gd name="T3" fmla="*/ 129 h 150"/>
              <a:gd name="T4" fmla="*/ 121 w 121"/>
              <a:gd name="T5" fmla="*/ 150 h 150"/>
              <a:gd name="T6" fmla="*/ 107 w 121"/>
              <a:gd name="T7" fmla="*/ 130 h 150"/>
              <a:gd name="T8" fmla="*/ 64 w 121"/>
              <a:gd name="T9" fmla="*/ 92 h 150"/>
              <a:gd name="T10" fmla="*/ 29 w 121"/>
              <a:gd name="T11" fmla="*/ 0 h 150"/>
              <a:gd name="T12" fmla="*/ 0 w 121"/>
              <a:gd name="T13" fmla="*/ 43 h 150"/>
              <a:gd name="T14" fmla="*/ 37 w 121"/>
              <a:gd name="T15" fmla="*/ 123 h 150"/>
              <a:gd name="T16" fmla="*/ 52 w 121"/>
              <a:gd name="T17" fmla="*/ 135 h 150"/>
              <a:gd name="T18" fmla="*/ 56 w 121"/>
              <a:gd name="T19" fmla="*/ 13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150">
                <a:moveTo>
                  <a:pt x="56" y="135"/>
                </a:moveTo>
                <a:cubicBezTo>
                  <a:pt x="62" y="135"/>
                  <a:pt x="59" y="133"/>
                  <a:pt x="63" y="129"/>
                </a:cubicBezTo>
                <a:cubicBezTo>
                  <a:pt x="121" y="150"/>
                  <a:pt x="121" y="150"/>
                  <a:pt x="121" y="150"/>
                </a:cubicBezTo>
                <a:cubicBezTo>
                  <a:pt x="107" y="130"/>
                  <a:pt x="107" y="130"/>
                  <a:pt x="107" y="130"/>
                </a:cubicBezTo>
                <a:cubicBezTo>
                  <a:pt x="64" y="92"/>
                  <a:pt x="64" y="92"/>
                  <a:pt x="64" y="92"/>
                </a:cubicBezTo>
                <a:cubicBezTo>
                  <a:pt x="29" y="0"/>
                  <a:pt x="29" y="0"/>
                  <a:pt x="29" y="0"/>
                </a:cubicBezTo>
                <a:cubicBezTo>
                  <a:pt x="0" y="43"/>
                  <a:pt x="0" y="43"/>
                  <a:pt x="0" y="43"/>
                </a:cubicBezTo>
                <a:cubicBezTo>
                  <a:pt x="37" y="123"/>
                  <a:pt x="37" y="123"/>
                  <a:pt x="37" y="123"/>
                </a:cubicBezTo>
                <a:cubicBezTo>
                  <a:pt x="40" y="129"/>
                  <a:pt x="46" y="134"/>
                  <a:pt x="52" y="135"/>
                </a:cubicBezTo>
                <a:cubicBezTo>
                  <a:pt x="54" y="135"/>
                  <a:pt x="55" y="135"/>
                  <a:pt x="56" y="135"/>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4" name="Freeform 91"/>
          <p:cNvSpPr>
            <a:spLocks/>
          </p:cNvSpPr>
          <p:nvPr userDrawn="1"/>
        </p:nvSpPr>
        <p:spPr bwMode="auto">
          <a:xfrm>
            <a:off x="8950251" y="3537632"/>
            <a:ext cx="317983" cy="393749"/>
          </a:xfrm>
          <a:custGeom>
            <a:avLst/>
            <a:gdLst>
              <a:gd name="T0" fmla="*/ 56 w 121"/>
              <a:gd name="T1" fmla="*/ 135 h 150"/>
              <a:gd name="T2" fmla="*/ 121 w 121"/>
              <a:gd name="T3" fmla="*/ 150 h 150"/>
              <a:gd name="T4" fmla="*/ 120 w 121"/>
              <a:gd name="T5" fmla="*/ 120 h 150"/>
              <a:gd name="T6" fmla="*/ 64 w 121"/>
              <a:gd name="T7" fmla="*/ 92 h 150"/>
              <a:gd name="T8" fmla="*/ 29 w 121"/>
              <a:gd name="T9" fmla="*/ 0 h 150"/>
              <a:gd name="T10" fmla="*/ 0 w 121"/>
              <a:gd name="T11" fmla="*/ 43 h 150"/>
              <a:gd name="T12" fmla="*/ 37 w 121"/>
              <a:gd name="T13" fmla="*/ 123 h 150"/>
              <a:gd name="T14" fmla="*/ 52 w 121"/>
              <a:gd name="T15" fmla="*/ 135 h 150"/>
              <a:gd name="T16" fmla="*/ 56 w 121"/>
              <a:gd name="T17" fmla="*/ 13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150">
                <a:moveTo>
                  <a:pt x="56" y="135"/>
                </a:moveTo>
                <a:cubicBezTo>
                  <a:pt x="62" y="135"/>
                  <a:pt x="121" y="150"/>
                  <a:pt x="121" y="150"/>
                </a:cubicBezTo>
                <a:cubicBezTo>
                  <a:pt x="120" y="120"/>
                  <a:pt x="120" y="120"/>
                  <a:pt x="120" y="120"/>
                </a:cubicBezTo>
                <a:cubicBezTo>
                  <a:pt x="64" y="92"/>
                  <a:pt x="64" y="92"/>
                  <a:pt x="64" y="92"/>
                </a:cubicBezTo>
                <a:cubicBezTo>
                  <a:pt x="29" y="0"/>
                  <a:pt x="29" y="0"/>
                  <a:pt x="29" y="0"/>
                </a:cubicBezTo>
                <a:cubicBezTo>
                  <a:pt x="0" y="43"/>
                  <a:pt x="0" y="43"/>
                  <a:pt x="0" y="43"/>
                </a:cubicBezTo>
                <a:cubicBezTo>
                  <a:pt x="37" y="123"/>
                  <a:pt x="37" y="123"/>
                  <a:pt x="37" y="123"/>
                </a:cubicBezTo>
                <a:cubicBezTo>
                  <a:pt x="40" y="129"/>
                  <a:pt x="46" y="134"/>
                  <a:pt x="52" y="135"/>
                </a:cubicBezTo>
                <a:cubicBezTo>
                  <a:pt x="54" y="135"/>
                  <a:pt x="55" y="135"/>
                  <a:pt x="56" y="135"/>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5" name="Freeform 92"/>
          <p:cNvSpPr>
            <a:spLocks/>
          </p:cNvSpPr>
          <p:nvPr userDrawn="1"/>
        </p:nvSpPr>
        <p:spPr bwMode="auto">
          <a:xfrm>
            <a:off x="8950251" y="3632285"/>
            <a:ext cx="136278" cy="261238"/>
          </a:xfrm>
          <a:custGeom>
            <a:avLst/>
            <a:gdLst>
              <a:gd name="T0" fmla="*/ 52 w 52"/>
              <a:gd name="T1" fmla="*/ 99 h 99"/>
              <a:gd name="T2" fmla="*/ 37 w 52"/>
              <a:gd name="T3" fmla="*/ 87 h 99"/>
              <a:gd name="T4" fmla="*/ 0 w 52"/>
              <a:gd name="T5" fmla="*/ 7 h 99"/>
              <a:gd name="T6" fmla="*/ 2 w 52"/>
              <a:gd name="T7" fmla="*/ 0 h 99"/>
              <a:gd name="T8" fmla="*/ 52 w 52"/>
              <a:gd name="T9" fmla="*/ 99 h 99"/>
            </a:gdLst>
            <a:ahLst/>
            <a:cxnLst>
              <a:cxn ang="0">
                <a:pos x="T0" y="T1"/>
              </a:cxn>
              <a:cxn ang="0">
                <a:pos x="T2" y="T3"/>
              </a:cxn>
              <a:cxn ang="0">
                <a:pos x="T4" y="T5"/>
              </a:cxn>
              <a:cxn ang="0">
                <a:pos x="T6" y="T7"/>
              </a:cxn>
              <a:cxn ang="0">
                <a:pos x="T8" y="T9"/>
              </a:cxn>
            </a:cxnLst>
            <a:rect l="0" t="0" r="r" b="b"/>
            <a:pathLst>
              <a:path w="52" h="99">
                <a:moveTo>
                  <a:pt x="52" y="99"/>
                </a:moveTo>
                <a:cubicBezTo>
                  <a:pt x="46" y="98"/>
                  <a:pt x="40" y="93"/>
                  <a:pt x="37" y="87"/>
                </a:cubicBezTo>
                <a:cubicBezTo>
                  <a:pt x="0" y="7"/>
                  <a:pt x="0" y="7"/>
                  <a:pt x="0" y="7"/>
                </a:cubicBezTo>
                <a:cubicBezTo>
                  <a:pt x="2" y="0"/>
                  <a:pt x="2" y="0"/>
                  <a:pt x="2" y="0"/>
                </a:cubicBezTo>
                <a:cubicBezTo>
                  <a:pt x="2" y="0"/>
                  <a:pt x="37" y="87"/>
                  <a:pt x="52" y="99"/>
                </a:cubicBez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6" name="Freeform 93"/>
          <p:cNvSpPr>
            <a:spLocks/>
          </p:cNvSpPr>
          <p:nvPr userDrawn="1"/>
        </p:nvSpPr>
        <p:spPr bwMode="auto">
          <a:xfrm>
            <a:off x="9007035" y="3537632"/>
            <a:ext cx="113566" cy="253666"/>
          </a:xfrm>
          <a:custGeom>
            <a:avLst/>
            <a:gdLst>
              <a:gd name="T0" fmla="*/ 5 w 30"/>
              <a:gd name="T1" fmla="*/ 0 h 67"/>
              <a:gd name="T2" fmla="*/ 30 w 30"/>
              <a:gd name="T3" fmla="*/ 64 h 67"/>
              <a:gd name="T4" fmla="*/ 26 w 30"/>
              <a:gd name="T5" fmla="*/ 67 h 67"/>
              <a:gd name="T6" fmla="*/ 0 w 30"/>
              <a:gd name="T7" fmla="*/ 8 h 67"/>
              <a:gd name="T8" fmla="*/ 5 w 30"/>
              <a:gd name="T9" fmla="*/ 0 h 67"/>
            </a:gdLst>
            <a:ahLst/>
            <a:cxnLst>
              <a:cxn ang="0">
                <a:pos x="T0" y="T1"/>
              </a:cxn>
              <a:cxn ang="0">
                <a:pos x="T2" y="T3"/>
              </a:cxn>
              <a:cxn ang="0">
                <a:pos x="T4" y="T5"/>
              </a:cxn>
              <a:cxn ang="0">
                <a:pos x="T6" y="T7"/>
              </a:cxn>
              <a:cxn ang="0">
                <a:pos x="T8" y="T9"/>
              </a:cxn>
            </a:cxnLst>
            <a:rect l="0" t="0" r="r" b="b"/>
            <a:pathLst>
              <a:path w="30" h="67">
                <a:moveTo>
                  <a:pt x="5" y="0"/>
                </a:moveTo>
                <a:lnTo>
                  <a:pt x="30" y="64"/>
                </a:lnTo>
                <a:lnTo>
                  <a:pt x="26" y="67"/>
                </a:lnTo>
                <a:lnTo>
                  <a:pt x="0" y="8"/>
                </a:lnTo>
                <a:lnTo>
                  <a:pt x="5" y="0"/>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7" name="Freeform 94"/>
          <p:cNvSpPr>
            <a:spLocks/>
          </p:cNvSpPr>
          <p:nvPr userDrawn="1"/>
        </p:nvSpPr>
        <p:spPr bwMode="auto">
          <a:xfrm>
            <a:off x="9359086" y="3814015"/>
            <a:ext cx="49213" cy="71936"/>
          </a:xfrm>
          <a:custGeom>
            <a:avLst/>
            <a:gdLst>
              <a:gd name="T0" fmla="*/ 4 w 19"/>
              <a:gd name="T1" fmla="*/ 27 h 28"/>
              <a:gd name="T2" fmla="*/ 9 w 19"/>
              <a:gd name="T3" fmla="*/ 25 h 28"/>
              <a:gd name="T4" fmla="*/ 18 w 19"/>
              <a:gd name="T5" fmla="*/ 7 h 28"/>
              <a:gd name="T6" fmla="*/ 16 w 19"/>
              <a:gd name="T7" fmla="*/ 1 h 28"/>
              <a:gd name="T8" fmla="*/ 10 w 19"/>
              <a:gd name="T9" fmla="*/ 3 h 28"/>
              <a:gd name="T10" fmla="*/ 1 w 19"/>
              <a:gd name="T11" fmla="*/ 21 h 28"/>
              <a:gd name="T12" fmla="*/ 3 w 19"/>
              <a:gd name="T13" fmla="*/ 27 h 28"/>
              <a:gd name="T14" fmla="*/ 4 w 19"/>
              <a:gd name="T15" fmla="*/ 27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28">
                <a:moveTo>
                  <a:pt x="4" y="27"/>
                </a:moveTo>
                <a:cubicBezTo>
                  <a:pt x="6" y="28"/>
                  <a:pt x="8" y="27"/>
                  <a:pt x="9" y="25"/>
                </a:cubicBezTo>
                <a:cubicBezTo>
                  <a:pt x="18" y="7"/>
                  <a:pt x="18" y="7"/>
                  <a:pt x="18" y="7"/>
                </a:cubicBezTo>
                <a:cubicBezTo>
                  <a:pt x="19" y="5"/>
                  <a:pt x="19" y="2"/>
                  <a:pt x="16" y="1"/>
                </a:cubicBezTo>
                <a:cubicBezTo>
                  <a:pt x="14" y="0"/>
                  <a:pt x="12" y="1"/>
                  <a:pt x="10" y="3"/>
                </a:cubicBezTo>
                <a:cubicBezTo>
                  <a:pt x="1" y="21"/>
                  <a:pt x="1" y="21"/>
                  <a:pt x="1" y="21"/>
                </a:cubicBezTo>
                <a:cubicBezTo>
                  <a:pt x="0" y="23"/>
                  <a:pt x="1" y="26"/>
                  <a:pt x="3" y="27"/>
                </a:cubicBezTo>
                <a:cubicBezTo>
                  <a:pt x="3" y="27"/>
                  <a:pt x="3" y="27"/>
                  <a:pt x="4" y="2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8" name="Freeform 95"/>
          <p:cNvSpPr>
            <a:spLocks/>
          </p:cNvSpPr>
          <p:nvPr userDrawn="1"/>
        </p:nvSpPr>
        <p:spPr bwMode="auto">
          <a:xfrm>
            <a:off x="9332589" y="3795084"/>
            <a:ext cx="56784" cy="79508"/>
          </a:xfrm>
          <a:custGeom>
            <a:avLst/>
            <a:gdLst>
              <a:gd name="T0" fmla="*/ 4 w 21"/>
              <a:gd name="T1" fmla="*/ 29 h 30"/>
              <a:gd name="T2" fmla="*/ 9 w 21"/>
              <a:gd name="T3" fmla="*/ 27 h 30"/>
              <a:gd name="T4" fmla="*/ 20 w 21"/>
              <a:gd name="T5" fmla="*/ 7 h 30"/>
              <a:gd name="T6" fmla="*/ 18 w 21"/>
              <a:gd name="T7" fmla="*/ 1 h 30"/>
              <a:gd name="T8" fmla="*/ 12 w 21"/>
              <a:gd name="T9" fmla="*/ 3 h 30"/>
              <a:gd name="T10" fmla="*/ 1 w 21"/>
              <a:gd name="T11" fmla="*/ 23 h 30"/>
              <a:gd name="T12" fmla="*/ 3 w 21"/>
              <a:gd name="T13" fmla="*/ 29 h 30"/>
              <a:gd name="T14" fmla="*/ 4 w 21"/>
              <a:gd name="T15" fmla="*/ 29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30">
                <a:moveTo>
                  <a:pt x="4" y="29"/>
                </a:moveTo>
                <a:cubicBezTo>
                  <a:pt x="6" y="30"/>
                  <a:pt x="8" y="29"/>
                  <a:pt x="9" y="27"/>
                </a:cubicBezTo>
                <a:cubicBezTo>
                  <a:pt x="20" y="7"/>
                  <a:pt x="20" y="7"/>
                  <a:pt x="20" y="7"/>
                </a:cubicBezTo>
                <a:cubicBezTo>
                  <a:pt x="21" y="5"/>
                  <a:pt x="20" y="2"/>
                  <a:pt x="18" y="1"/>
                </a:cubicBezTo>
                <a:cubicBezTo>
                  <a:pt x="16" y="0"/>
                  <a:pt x="13" y="0"/>
                  <a:pt x="12" y="3"/>
                </a:cubicBezTo>
                <a:cubicBezTo>
                  <a:pt x="1" y="23"/>
                  <a:pt x="1" y="23"/>
                  <a:pt x="1" y="23"/>
                </a:cubicBezTo>
                <a:cubicBezTo>
                  <a:pt x="0" y="25"/>
                  <a:pt x="1" y="28"/>
                  <a:pt x="3" y="29"/>
                </a:cubicBezTo>
                <a:cubicBezTo>
                  <a:pt x="3" y="29"/>
                  <a:pt x="4" y="29"/>
                  <a:pt x="4" y="2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9" name="Freeform 96"/>
          <p:cNvSpPr>
            <a:spLocks/>
          </p:cNvSpPr>
          <p:nvPr userDrawn="1"/>
        </p:nvSpPr>
        <p:spPr bwMode="auto">
          <a:xfrm>
            <a:off x="9306089" y="3783727"/>
            <a:ext cx="49213" cy="75721"/>
          </a:xfrm>
          <a:custGeom>
            <a:avLst/>
            <a:gdLst>
              <a:gd name="T0" fmla="*/ 4 w 18"/>
              <a:gd name="T1" fmla="*/ 28 h 28"/>
              <a:gd name="T2" fmla="*/ 9 w 18"/>
              <a:gd name="T3" fmla="*/ 25 h 28"/>
              <a:gd name="T4" fmla="*/ 17 w 18"/>
              <a:gd name="T5" fmla="*/ 7 h 28"/>
              <a:gd name="T6" fmla="*/ 15 w 18"/>
              <a:gd name="T7" fmla="*/ 1 h 28"/>
              <a:gd name="T8" fmla="*/ 9 w 18"/>
              <a:gd name="T9" fmla="*/ 3 h 28"/>
              <a:gd name="T10" fmla="*/ 1 w 18"/>
              <a:gd name="T11" fmla="*/ 22 h 28"/>
              <a:gd name="T12" fmla="*/ 3 w 18"/>
              <a:gd name="T13" fmla="*/ 27 h 28"/>
              <a:gd name="T14" fmla="*/ 4 w 1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8">
                <a:moveTo>
                  <a:pt x="4" y="28"/>
                </a:moveTo>
                <a:cubicBezTo>
                  <a:pt x="6" y="28"/>
                  <a:pt x="8" y="27"/>
                  <a:pt x="9" y="25"/>
                </a:cubicBezTo>
                <a:cubicBezTo>
                  <a:pt x="17" y="7"/>
                  <a:pt x="17" y="7"/>
                  <a:pt x="17" y="7"/>
                </a:cubicBezTo>
                <a:cubicBezTo>
                  <a:pt x="18" y="4"/>
                  <a:pt x="17" y="2"/>
                  <a:pt x="15" y="1"/>
                </a:cubicBezTo>
                <a:cubicBezTo>
                  <a:pt x="13" y="0"/>
                  <a:pt x="10" y="1"/>
                  <a:pt x="9" y="3"/>
                </a:cubicBezTo>
                <a:cubicBezTo>
                  <a:pt x="1" y="22"/>
                  <a:pt x="1" y="22"/>
                  <a:pt x="1" y="22"/>
                </a:cubicBezTo>
                <a:cubicBezTo>
                  <a:pt x="0" y="24"/>
                  <a:pt x="1" y="26"/>
                  <a:pt x="3" y="27"/>
                </a:cubicBezTo>
                <a:cubicBezTo>
                  <a:pt x="3" y="28"/>
                  <a:pt x="4" y="28"/>
                  <a:pt x="4" y="2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0" name="Freeform 97"/>
          <p:cNvSpPr>
            <a:spLocks/>
          </p:cNvSpPr>
          <p:nvPr userDrawn="1"/>
        </p:nvSpPr>
        <p:spPr bwMode="auto">
          <a:xfrm>
            <a:off x="9268234" y="3798871"/>
            <a:ext cx="45426" cy="75721"/>
          </a:xfrm>
          <a:custGeom>
            <a:avLst/>
            <a:gdLst>
              <a:gd name="T0" fmla="*/ 5 w 18"/>
              <a:gd name="T1" fmla="*/ 28 h 29"/>
              <a:gd name="T2" fmla="*/ 9 w 18"/>
              <a:gd name="T3" fmla="*/ 26 h 29"/>
              <a:gd name="T4" fmla="*/ 17 w 18"/>
              <a:gd name="T5" fmla="*/ 7 h 29"/>
              <a:gd name="T6" fmla="*/ 14 w 18"/>
              <a:gd name="T7" fmla="*/ 1 h 29"/>
              <a:gd name="T8" fmla="*/ 9 w 18"/>
              <a:gd name="T9" fmla="*/ 3 h 29"/>
              <a:gd name="T10" fmla="*/ 1 w 18"/>
              <a:gd name="T11" fmla="*/ 23 h 29"/>
              <a:gd name="T12" fmla="*/ 4 w 18"/>
              <a:gd name="T13" fmla="*/ 28 h 29"/>
              <a:gd name="T14" fmla="*/ 5 w 18"/>
              <a:gd name="T15" fmla="*/ 28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9">
                <a:moveTo>
                  <a:pt x="5" y="28"/>
                </a:moveTo>
                <a:cubicBezTo>
                  <a:pt x="7" y="29"/>
                  <a:pt x="9" y="28"/>
                  <a:pt x="9" y="26"/>
                </a:cubicBezTo>
                <a:cubicBezTo>
                  <a:pt x="17" y="7"/>
                  <a:pt x="17" y="7"/>
                  <a:pt x="17" y="7"/>
                </a:cubicBezTo>
                <a:cubicBezTo>
                  <a:pt x="18" y="4"/>
                  <a:pt x="17" y="2"/>
                  <a:pt x="14" y="1"/>
                </a:cubicBezTo>
                <a:cubicBezTo>
                  <a:pt x="12" y="0"/>
                  <a:pt x="9" y="1"/>
                  <a:pt x="9" y="3"/>
                </a:cubicBezTo>
                <a:cubicBezTo>
                  <a:pt x="1" y="23"/>
                  <a:pt x="1" y="23"/>
                  <a:pt x="1" y="23"/>
                </a:cubicBezTo>
                <a:cubicBezTo>
                  <a:pt x="0" y="25"/>
                  <a:pt x="1" y="27"/>
                  <a:pt x="4" y="28"/>
                </a:cubicBezTo>
                <a:cubicBezTo>
                  <a:pt x="4" y="28"/>
                  <a:pt x="4" y="28"/>
                  <a:pt x="5" y="2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1" name="Freeform 98"/>
          <p:cNvSpPr>
            <a:spLocks/>
          </p:cNvSpPr>
          <p:nvPr userDrawn="1"/>
        </p:nvSpPr>
        <p:spPr bwMode="auto">
          <a:xfrm>
            <a:off x="9215236" y="3829159"/>
            <a:ext cx="166562" cy="124941"/>
          </a:xfrm>
          <a:custGeom>
            <a:avLst/>
            <a:gdLst>
              <a:gd name="T0" fmla="*/ 63 w 64"/>
              <a:gd name="T1" fmla="*/ 19 h 47"/>
              <a:gd name="T2" fmla="*/ 7 w 64"/>
              <a:gd name="T3" fmla="*/ 35 h 47"/>
              <a:gd name="T4" fmla="*/ 8 w 64"/>
              <a:gd name="T5" fmla="*/ 16 h 47"/>
              <a:gd name="T6" fmla="*/ 26 w 64"/>
              <a:gd name="T7" fmla="*/ 0 h 47"/>
              <a:gd name="T8" fmla="*/ 64 w 64"/>
              <a:gd name="T9" fmla="*/ 17 h 47"/>
              <a:gd name="T10" fmla="*/ 63 w 64"/>
              <a:gd name="T11" fmla="*/ 19 h 47"/>
            </a:gdLst>
            <a:ahLst/>
            <a:cxnLst>
              <a:cxn ang="0">
                <a:pos x="T0" y="T1"/>
              </a:cxn>
              <a:cxn ang="0">
                <a:pos x="T2" y="T3"/>
              </a:cxn>
              <a:cxn ang="0">
                <a:pos x="T4" y="T5"/>
              </a:cxn>
              <a:cxn ang="0">
                <a:pos x="T6" y="T7"/>
              </a:cxn>
              <a:cxn ang="0">
                <a:pos x="T8" y="T9"/>
              </a:cxn>
              <a:cxn ang="0">
                <a:pos x="T10" y="T11"/>
              </a:cxn>
            </a:cxnLst>
            <a:rect l="0" t="0" r="r" b="b"/>
            <a:pathLst>
              <a:path w="64" h="47">
                <a:moveTo>
                  <a:pt x="63" y="19"/>
                </a:moveTo>
                <a:cubicBezTo>
                  <a:pt x="57" y="24"/>
                  <a:pt x="31" y="47"/>
                  <a:pt x="7" y="35"/>
                </a:cubicBezTo>
                <a:cubicBezTo>
                  <a:pt x="0" y="32"/>
                  <a:pt x="3" y="25"/>
                  <a:pt x="8" y="16"/>
                </a:cubicBezTo>
                <a:cubicBezTo>
                  <a:pt x="13" y="7"/>
                  <a:pt x="26" y="0"/>
                  <a:pt x="26" y="0"/>
                </a:cubicBezTo>
                <a:cubicBezTo>
                  <a:pt x="64" y="17"/>
                  <a:pt x="64" y="17"/>
                  <a:pt x="64" y="17"/>
                </a:cubicBezTo>
                <a:cubicBezTo>
                  <a:pt x="64" y="17"/>
                  <a:pt x="64" y="18"/>
                  <a:pt x="63" y="1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2" name="Freeform 99"/>
          <p:cNvSpPr>
            <a:spLocks/>
          </p:cNvSpPr>
          <p:nvPr userDrawn="1"/>
        </p:nvSpPr>
        <p:spPr bwMode="auto">
          <a:xfrm>
            <a:off x="8484634" y="3454339"/>
            <a:ext cx="586755" cy="662560"/>
          </a:xfrm>
          <a:custGeom>
            <a:avLst/>
            <a:gdLst>
              <a:gd name="T0" fmla="*/ 192 w 222"/>
              <a:gd name="T1" fmla="*/ 97 h 251"/>
              <a:gd name="T2" fmla="*/ 222 w 222"/>
              <a:gd name="T3" fmla="*/ 48 h 251"/>
              <a:gd name="T4" fmla="*/ 127 w 222"/>
              <a:gd name="T5" fmla="*/ 0 h 251"/>
              <a:gd name="T6" fmla="*/ 95 w 222"/>
              <a:gd name="T7" fmla="*/ 0 h 251"/>
              <a:gd name="T8" fmla="*/ 0 w 222"/>
              <a:gd name="T9" fmla="*/ 48 h 251"/>
              <a:gd name="T10" fmla="*/ 30 w 222"/>
              <a:gd name="T11" fmla="*/ 97 h 251"/>
              <a:gd name="T12" fmla="*/ 66 w 222"/>
              <a:gd name="T13" fmla="*/ 237 h 251"/>
              <a:gd name="T14" fmla="*/ 111 w 222"/>
              <a:gd name="T15" fmla="*/ 251 h 251"/>
              <a:gd name="T16" fmla="*/ 156 w 222"/>
              <a:gd name="T17" fmla="*/ 237 h 251"/>
              <a:gd name="T18" fmla="*/ 192 w 222"/>
              <a:gd name="T19" fmla="*/ 97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2" h="251">
                <a:moveTo>
                  <a:pt x="192" y="97"/>
                </a:moveTo>
                <a:cubicBezTo>
                  <a:pt x="222" y="48"/>
                  <a:pt x="222" y="48"/>
                  <a:pt x="222" y="48"/>
                </a:cubicBezTo>
                <a:cubicBezTo>
                  <a:pt x="222" y="48"/>
                  <a:pt x="195" y="0"/>
                  <a:pt x="127" y="0"/>
                </a:cubicBezTo>
                <a:cubicBezTo>
                  <a:pt x="114" y="0"/>
                  <a:pt x="107" y="0"/>
                  <a:pt x="95" y="0"/>
                </a:cubicBezTo>
                <a:cubicBezTo>
                  <a:pt x="27" y="0"/>
                  <a:pt x="0" y="48"/>
                  <a:pt x="0" y="48"/>
                </a:cubicBezTo>
                <a:cubicBezTo>
                  <a:pt x="30" y="97"/>
                  <a:pt x="30" y="97"/>
                  <a:pt x="30" y="97"/>
                </a:cubicBezTo>
                <a:cubicBezTo>
                  <a:pt x="66" y="237"/>
                  <a:pt x="66" y="237"/>
                  <a:pt x="66" y="237"/>
                </a:cubicBezTo>
                <a:cubicBezTo>
                  <a:pt x="66" y="237"/>
                  <a:pt x="82" y="251"/>
                  <a:pt x="111" y="251"/>
                </a:cubicBezTo>
                <a:cubicBezTo>
                  <a:pt x="140" y="251"/>
                  <a:pt x="156" y="237"/>
                  <a:pt x="156" y="237"/>
                </a:cubicBezTo>
                <a:lnTo>
                  <a:pt x="192" y="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3" name="Freeform 100"/>
          <p:cNvSpPr>
            <a:spLocks/>
          </p:cNvSpPr>
          <p:nvPr userDrawn="1"/>
        </p:nvSpPr>
        <p:spPr bwMode="auto">
          <a:xfrm>
            <a:off x="8707978" y="3310469"/>
            <a:ext cx="140065" cy="230950"/>
          </a:xfrm>
          <a:custGeom>
            <a:avLst/>
            <a:gdLst>
              <a:gd name="T0" fmla="*/ 0 w 52"/>
              <a:gd name="T1" fmla="*/ 0 h 87"/>
              <a:gd name="T2" fmla="*/ 0 w 52"/>
              <a:gd name="T3" fmla="*/ 61 h 87"/>
              <a:gd name="T4" fmla="*/ 26 w 52"/>
              <a:gd name="T5" fmla="*/ 87 h 87"/>
              <a:gd name="T6" fmla="*/ 52 w 52"/>
              <a:gd name="T7" fmla="*/ 61 h 87"/>
              <a:gd name="T8" fmla="*/ 52 w 52"/>
              <a:gd name="T9" fmla="*/ 0 h 87"/>
              <a:gd name="T10" fmla="*/ 0 w 52"/>
              <a:gd name="T11" fmla="*/ 0 h 87"/>
            </a:gdLst>
            <a:ahLst/>
            <a:cxnLst>
              <a:cxn ang="0">
                <a:pos x="T0" y="T1"/>
              </a:cxn>
              <a:cxn ang="0">
                <a:pos x="T2" y="T3"/>
              </a:cxn>
              <a:cxn ang="0">
                <a:pos x="T4" y="T5"/>
              </a:cxn>
              <a:cxn ang="0">
                <a:pos x="T6" y="T7"/>
              </a:cxn>
              <a:cxn ang="0">
                <a:pos x="T8" y="T9"/>
              </a:cxn>
              <a:cxn ang="0">
                <a:pos x="T10" y="T11"/>
              </a:cxn>
            </a:cxnLst>
            <a:rect l="0" t="0" r="r" b="b"/>
            <a:pathLst>
              <a:path w="52" h="87">
                <a:moveTo>
                  <a:pt x="0" y="0"/>
                </a:moveTo>
                <a:cubicBezTo>
                  <a:pt x="0" y="61"/>
                  <a:pt x="0" y="61"/>
                  <a:pt x="0" y="61"/>
                </a:cubicBezTo>
                <a:cubicBezTo>
                  <a:pt x="0" y="76"/>
                  <a:pt x="12" y="87"/>
                  <a:pt x="26" y="87"/>
                </a:cubicBezTo>
                <a:cubicBezTo>
                  <a:pt x="40" y="87"/>
                  <a:pt x="52" y="76"/>
                  <a:pt x="52" y="61"/>
                </a:cubicBezTo>
                <a:cubicBezTo>
                  <a:pt x="52" y="0"/>
                  <a:pt x="52" y="0"/>
                  <a:pt x="52" y="0"/>
                </a:cubicBezTo>
                <a:lnTo>
                  <a:pt x="0" y="0"/>
                </a:ln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4" name="Freeform 101"/>
          <p:cNvSpPr>
            <a:spLocks/>
          </p:cNvSpPr>
          <p:nvPr userDrawn="1"/>
        </p:nvSpPr>
        <p:spPr bwMode="auto">
          <a:xfrm>
            <a:off x="8560344" y="2924292"/>
            <a:ext cx="435336" cy="427825"/>
          </a:xfrm>
          <a:custGeom>
            <a:avLst/>
            <a:gdLst>
              <a:gd name="T0" fmla="*/ 162 w 164"/>
              <a:gd name="T1" fmla="*/ 84 h 163"/>
              <a:gd name="T2" fmla="*/ 79 w 164"/>
              <a:gd name="T3" fmla="*/ 162 h 163"/>
              <a:gd name="T4" fmla="*/ 2 w 164"/>
              <a:gd name="T5" fmla="*/ 78 h 163"/>
              <a:gd name="T6" fmla="*/ 85 w 164"/>
              <a:gd name="T7" fmla="*/ 1 h 163"/>
              <a:gd name="T8" fmla="*/ 162 w 164"/>
              <a:gd name="T9" fmla="*/ 84 h 163"/>
            </a:gdLst>
            <a:ahLst/>
            <a:cxnLst>
              <a:cxn ang="0">
                <a:pos x="T0" y="T1"/>
              </a:cxn>
              <a:cxn ang="0">
                <a:pos x="T2" y="T3"/>
              </a:cxn>
              <a:cxn ang="0">
                <a:pos x="T4" y="T5"/>
              </a:cxn>
              <a:cxn ang="0">
                <a:pos x="T6" y="T7"/>
              </a:cxn>
              <a:cxn ang="0">
                <a:pos x="T8" y="T9"/>
              </a:cxn>
            </a:cxnLst>
            <a:rect l="0" t="0" r="r" b="b"/>
            <a:pathLst>
              <a:path w="164" h="163">
                <a:moveTo>
                  <a:pt x="162" y="84"/>
                </a:moveTo>
                <a:cubicBezTo>
                  <a:pt x="160" y="129"/>
                  <a:pt x="123" y="163"/>
                  <a:pt x="79" y="162"/>
                </a:cubicBezTo>
                <a:cubicBezTo>
                  <a:pt x="35" y="160"/>
                  <a:pt x="0" y="123"/>
                  <a:pt x="2" y="78"/>
                </a:cubicBezTo>
                <a:cubicBezTo>
                  <a:pt x="3" y="34"/>
                  <a:pt x="41" y="0"/>
                  <a:pt x="85" y="1"/>
                </a:cubicBezTo>
                <a:cubicBezTo>
                  <a:pt x="129" y="3"/>
                  <a:pt x="164" y="40"/>
                  <a:pt x="162" y="84"/>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5" name="Freeform 102"/>
          <p:cNvSpPr>
            <a:spLocks/>
          </p:cNvSpPr>
          <p:nvPr userDrawn="1"/>
        </p:nvSpPr>
        <p:spPr bwMode="auto">
          <a:xfrm>
            <a:off x="8639839" y="2734990"/>
            <a:ext cx="280128" cy="280168"/>
          </a:xfrm>
          <a:custGeom>
            <a:avLst/>
            <a:gdLst>
              <a:gd name="T0" fmla="*/ 105 w 106"/>
              <a:gd name="T1" fmla="*/ 55 h 106"/>
              <a:gd name="T2" fmla="*/ 51 w 106"/>
              <a:gd name="T3" fmla="*/ 105 h 106"/>
              <a:gd name="T4" fmla="*/ 1 w 106"/>
              <a:gd name="T5" fmla="*/ 51 h 106"/>
              <a:gd name="T6" fmla="*/ 55 w 106"/>
              <a:gd name="T7" fmla="*/ 1 h 106"/>
              <a:gd name="T8" fmla="*/ 105 w 106"/>
              <a:gd name="T9" fmla="*/ 55 h 106"/>
            </a:gdLst>
            <a:ahLst/>
            <a:cxnLst>
              <a:cxn ang="0">
                <a:pos x="T0" y="T1"/>
              </a:cxn>
              <a:cxn ang="0">
                <a:pos x="T2" y="T3"/>
              </a:cxn>
              <a:cxn ang="0">
                <a:pos x="T4" y="T5"/>
              </a:cxn>
              <a:cxn ang="0">
                <a:pos x="T6" y="T7"/>
              </a:cxn>
              <a:cxn ang="0">
                <a:pos x="T8" y="T9"/>
              </a:cxn>
            </a:cxnLst>
            <a:rect l="0" t="0" r="r" b="b"/>
            <a:pathLst>
              <a:path w="106" h="106">
                <a:moveTo>
                  <a:pt x="105" y="55"/>
                </a:moveTo>
                <a:cubicBezTo>
                  <a:pt x="103" y="83"/>
                  <a:pt x="79" y="106"/>
                  <a:pt x="51" y="105"/>
                </a:cubicBezTo>
                <a:cubicBezTo>
                  <a:pt x="22" y="103"/>
                  <a:pt x="0" y="79"/>
                  <a:pt x="1" y="51"/>
                </a:cubicBezTo>
                <a:cubicBezTo>
                  <a:pt x="2" y="22"/>
                  <a:pt x="26" y="0"/>
                  <a:pt x="55" y="1"/>
                </a:cubicBezTo>
                <a:cubicBezTo>
                  <a:pt x="83" y="2"/>
                  <a:pt x="106" y="26"/>
                  <a:pt x="105" y="55"/>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6" name="Freeform 103"/>
          <p:cNvSpPr>
            <a:spLocks/>
          </p:cNvSpPr>
          <p:nvPr userDrawn="1"/>
        </p:nvSpPr>
        <p:spPr bwMode="auto">
          <a:xfrm>
            <a:off x="8904824" y="3159027"/>
            <a:ext cx="87068" cy="83293"/>
          </a:xfrm>
          <a:custGeom>
            <a:avLst/>
            <a:gdLst>
              <a:gd name="T0" fmla="*/ 33 w 33"/>
              <a:gd name="T1" fmla="*/ 16 h 32"/>
              <a:gd name="T2" fmla="*/ 17 w 33"/>
              <a:gd name="T3" fmla="*/ 32 h 32"/>
              <a:gd name="T4" fmla="*/ 0 w 33"/>
              <a:gd name="T5" fmla="*/ 16 h 32"/>
              <a:gd name="T6" fmla="*/ 17 w 33"/>
              <a:gd name="T7" fmla="*/ 0 h 32"/>
              <a:gd name="T8" fmla="*/ 33 w 33"/>
              <a:gd name="T9" fmla="*/ 16 h 32"/>
            </a:gdLst>
            <a:ahLst/>
            <a:cxnLst>
              <a:cxn ang="0">
                <a:pos x="T0" y="T1"/>
              </a:cxn>
              <a:cxn ang="0">
                <a:pos x="T2" y="T3"/>
              </a:cxn>
              <a:cxn ang="0">
                <a:pos x="T4" y="T5"/>
              </a:cxn>
              <a:cxn ang="0">
                <a:pos x="T6" y="T7"/>
              </a:cxn>
              <a:cxn ang="0">
                <a:pos x="T8" y="T9"/>
              </a:cxn>
            </a:cxnLst>
            <a:rect l="0" t="0" r="r" b="b"/>
            <a:pathLst>
              <a:path w="33" h="32">
                <a:moveTo>
                  <a:pt x="33" y="16"/>
                </a:moveTo>
                <a:cubicBezTo>
                  <a:pt x="33" y="25"/>
                  <a:pt x="26" y="32"/>
                  <a:pt x="17" y="32"/>
                </a:cubicBezTo>
                <a:cubicBezTo>
                  <a:pt x="8" y="32"/>
                  <a:pt x="0" y="25"/>
                  <a:pt x="0" y="16"/>
                </a:cubicBezTo>
                <a:cubicBezTo>
                  <a:pt x="1" y="7"/>
                  <a:pt x="8" y="0"/>
                  <a:pt x="17" y="0"/>
                </a:cubicBezTo>
                <a:cubicBezTo>
                  <a:pt x="26" y="0"/>
                  <a:pt x="33" y="7"/>
                  <a:pt x="33" y="16"/>
                </a:cubicBez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7" name="Freeform 104"/>
          <p:cNvSpPr>
            <a:spLocks/>
          </p:cNvSpPr>
          <p:nvPr userDrawn="1"/>
        </p:nvSpPr>
        <p:spPr bwMode="auto">
          <a:xfrm>
            <a:off x="8908611" y="3159027"/>
            <a:ext cx="83281" cy="68149"/>
          </a:xfrm>
          <a:custGeom>
            <a:avLst/>
            <a:gdLst>
              <a:gd name="T0" fmla="*/ 13 w 31"/>
              <a:gd name="T1" fmla="*/ 3 h 26"/>
              <a:gd name="T2" fmla="*/ 29 w 31"/>
              <a:gd name="T3" fmla="*/ 20 h 26"/>
              <a:gd name="T4" fmla="*/ 27 w 31"/>
              <a:gd name="T5" fmla="*/ 26 h 26"/>
              <a:gd name="T6" fmla="*/ 31 w 31"/>
              <a:gd name="T7" fmla="*/ 16 h 26"/>
              <a:gd name="T8" fmla="*/ 15 w 31"/>
              <a:gd name="T9" fmla="*/ 0 h 26"/>
              <a:gd name="T10" fmla="*/ 0 w 31"/>
              <a:gd name="T11" fmla="*/ 9 h 26"/>
              <a:gd name="T12" fmla="*/ 13 w 31"/>
              <a:gd name="T13" fmla="*/ 3 h 26"/>
            </a:gdLst>
            <a:ahLst/>
            <a:cxnLst>
              <a:cxn ang="0">
                <a:pos x="T0" y="T1"/>
              </a:cxn>
              <a:cxn ang="0">
                <a:pos x="T2" y="T3"/>
              </a:cxn>
              <a:cxn ang="0">
                <a:pos x="T4" y="T5"/>
              </a:cxn>
              <a:cxn ang="0">
                <a:pos x="T6" y="T7"/>
              </a:cxn>
              <a:cxn ang="0">
                <a:pos x="T8" y="T9"/>
              </a:cxn>
              <a:cxn ang="0">
                <a:pos x="T10" y="T11"/>
              </a:cxn>
              <a:cxn ang="0">
                <a:pos x="T12" y="T13"/>
              </a:cxn>
            </a:cxnLst>
            <a:rect l="0" t="0" r="r" b="b"/>
            <a:pathLst>
              <a:path w="31" h="26">
                <a:moveTo>
                  <a:pt x="13" y="3"/>
                </a:moveTo>
                <a:cubicBezTo>
                  <a:pt x="22" y="3"/>
                  <a:pt x="29" y="11"/>
                  <a:pt x="29" y="20"/>
                </a:cubicBezTo>
                <a:cubicBezTo>
                  <a:pt x="29" y="22"/>
                  <a:pt x="28" y="24"/>
                  <a:pt x="27" y="26"/>
                </a:cubicBezTo>
                <a:cubicBezTo>
                  <a:pt x="30" y="23"/>
                  <a:pt x="31" y="20"/>
                  <a:pt x="31" y="16"/>
                </a:cubicBezTo>
                <a:cubicBezTo>
                  <a:pt x="31" y="7"/>
                  <a:pt x="24" y="0"/>
                  <a:pt x="15" y="0"/>
                </a:cubicBezTo>
                <a:cubicBezTo>
                  <a:pt x="8" y="0"/>
                  <a:pt x="2" y="4"/>
                  <a:pt x="0" y="9"/>
                </a:cubicBezTo>
                <a:cubicBezTo>
                  <a:pt x="3" y="6"/>
                  <a:pt x="7" y="3"/>
                  <a:pt x="13" y="3"/>
                </a:cubicBez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8" name="Oval 105"/>
          <p:cNvSpPr>
            <a:spLocks noChangeArrowheads="1"/>
          </p:cNvSpPr>
          <p:nvPr userDrawn="1"/>
        </p:nvSpPr>
        <p:spPr bwMode="auto">
          <a:xfrm>
            <a:off x="8564129" y="3155243"/>
            <a:ext cx="83281" cy="87080"/>
          </a:xfrm>
          <a:prstGeom prst="ellipse">
            <a:avLst/>
          </a:pr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9" name="Freeform 106"/>
          <p:cNvSpPr>
            <a:spLocks/>
          </p:cNvSpPr>
          <p:nvPr userDrawn="1"/>
        </p:nvSpPr>
        <p:spPr bwMode="auto">
          <a:xfrm>
            <a:off x="8564129" y="3155242"/>
            <a:ext cx="83281" cy="68149"/>
          </a:xfrm>
          <a:custGeom>
            <a:avLst/>
            <a:gdLst>
              <a:gd name="T0" fmla="*/ 18 w 31"/>
              <a:gd name="T1" fmla="*/ 4 h 26"/>
              <a:gd name="T2" fmla="*/ 2 w 31"/>
              <a:gd name="T3" fmla="*/ 20 h 26"/>
              <a:gd name="T4" fmla="*/ 3 w 31"/>
              <a:gd name="T5" fmla="*/ 26 h 26"/>
              <a:gd name="T6" fmla="*/ 0 w 31"/>
              <a:gd name="T7" fmla="*/ 16 h 26"/>
              <a:gd name="T8" fmla="*/ 16 w 31"/>
              <a:gd name="T9" fmla="*/ 0 h 26"/>
              <a:gd name="T10" fmla="*/ 31 w 31"/>
              <a:gd name="T11" fmla="*/ 10 h 26"/>
              <a:gd name="T12" fmla="*/ 18 w 31"/>
              <a:gd name="T13" fmla="*/ 4 h 26"/>
            </a:gdLst>
            <a:ahLst/>
            <a:cxnLst>
              <a:cxn ang="0">
                <a:pos x="T0" y="T1"/>
              </a:cxn>
              <a:cxn ang="0">
                <a:pos x="T2" y="T3"/>
              </a:cxn>
              <a:cxn ang="0">
                <a:pos x="T4" y="T5"/>
              </a:cxn>
              <a:cxn ang="0">
                <a:pos x="T6" y="T7"/>
              </a:cxn>
              <a:cxn ang="0">
                <a:pos x="T8" y="T9"/>
              </a:cxn>
              <a:cxn ang="0">
                <a:pos x="T10" y="T11"/>
              </a:cxn>
              <a:cxn ang="0">
                <a:pos x="T12" y="T13"/>
              </a:cxn>
            </a:cxnLst>
            <a:rect l="0" t="0" r="r" b="b"/>
            <a:pathLst>
              <a:path w="31" h="26">
                <a:moveTo>
                  <a:pt x="18" y="4"/>
                </a:moveTo>
                <a:cubicBezTo>
                  <a:pt x="9" y="4"/>
                  <a:pt x="2" y="11"/>
                  <a:pt x="2" y="20"/>
                </a:cubicBezTo>
                <a:cubicBezTo>
                  <a:pt x="2" y="22"/>
                  <a:pt x="2" y="24"/>
                  <a:pt x="3" y="26"/>
                </a:cubicBezTo>
                <a:cubicBezTo>
                  <a:pt x="1" y="23"/>
                  <a:pt x="0" y="20"/>
                  <a:pt x="0" y="16"/>
                </a:cubicBezTo>
                <a:cubicBezTo>
                  <a:pt x="0" y="7"/>
                  <a:pt x="7" y="0"/>
                  <a:pt x="16" y="0"/>
                </a:cubicBezTo>
                <a:cubicBezTo>
                  <a:pt x="23" y="0"/>
                  <a:pt x="29" y="4"/>
                  <a:pt x="31" y="10"/>
                </a:cubicBezTo>
                <a:cubicBezTo>
                  <a:pt x="28" y="6"/>
                  <a:pt x="24" y="4"/>
                  <a:pt x="18" y="4"/>
                </a:cubicBez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0" name="Freeform 107"/>
          <p:cNvSpPr>
            <a:spLocks/>
          </p:cNvSpPr>
          <p:nvPr userDrawn="1"/>
        </p:nvSpPr>
        <p:spPr bwMode="auto">
          <a:xfrm>
            <a:off x="8601984" y="3083306"/>
            <a:ext cx="348268" cy="336960"/>
          </a:xfrm>
          <a:custGeom>
            <a:avLst/>
            <a:gdLst>
              <a:gd name="T0" fmla="*/ 131 w 131"/>
              <a:gd name="T1" fmla="*/ 10 h 129"/>
              <a:gd name="T2" fmla="*/ 124 w 131"/>
              <a:gd name="T3" fmla="*/ 1 h 129"/>
              <a:gd name="T4" fmla="*/ 9 w 131"/>
              <a:gd name="T5" fmla="*/ 0 h 129"/>
              <a:gd name="T6" fmla="*/ 1 w 131"/>
              <a:gd name="T7" fmla="*/ 9 h 129"/>
              <a:gd name="T8" fmla="*/ 0 w 131"/>
              <a:gd name="T9" fmla="*/ 80 h 129"/>
              <a:gd name="T10" fmla="*/ 0 w 131"/>
              <a:gd name="T11" fmla="*/ 81 h 129"/>
              <a:gd name="T12" fmla="*/ 0 w 131"/>
              <a:gd name="T13" fmla="*/ 83 h 129"/>
              <a:gd name="T14" fmla="*/ 6 w 131"/>
              <a:gd name="T15" fmla="*/ 95 h 129"/>
              <a:gd name="T16" fmla="*/ 6 w 131"/>
              <a:gd name="T17" fmla="*/ 95 h 129"/>
              <a:gd name="T18" fmla="*/ 6 w 131"/>
              <a:gd name="T19" fmla="*/ 95 h 129"/>
              <a:gd name="T20" fmla="*/ 10 w 131"/>
              <a:gd name="T21" fmla="*/ 98 h 129"/>
              <a:gd name="T22" fmla="*/ 49 w 131"/>
              <a:gd name="T23" fmla="*/ 122 h 129"/>
              <a:gd name="T24" fmla="*/ 57 w 131"/>
              <a:gd name="T25" fmla="*/ 129 h 129"/>
              <a:gd name="T26" fmla="*/ 74 w 131"/>
              <a:gd name="T27" fmla="*/ 129 h 129"/>
              <a:gd name="T28" fmla="*/ 82 w 131"/>
              <a:gd name="T29" fmla="*/ 123 h 129"/>
              <a:gd name="T30" fmla="*/ 121 w 131"/>
              <a:gd name="T31" fmla="*/ 99 h 129"/>
              <a:gd name="T32" fmla="*/ 126 w 131"/>
              <a:gd name="T33" fmla="*/ 96 h 129"/>
              <a:gd name="T34" fmla="*/ 126 w 131"/>
              <a:gd name="T35" fmla="*/ 96 h 129"/>
              <a:gd name="T36" fmla="*/ 126 w 131"/>
              <a:gd name="T37" fmla="*/ 96 h 129"/>
              <a:gd name="T38" fmla="*/ 131 w 131"/>
              <a:gd name="T39" fmla="*/ 84 h 129"/>
              <a:gd name="T40" fmla="*/ 131 w 131"/>
              <a:gd name="T41" fmla="*/ 82 h 129"/>
              <a:gd name="T42" fmla="*/ 131 w 131"/>
              <a:gd name="T43" fmla="*/ 81 h 129"/>
              <a:gd name="T44" fmla="*/ 131 w 131"/>
              <a:gd name="T45" fmla="*/ 1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1" h="129">
                <a:moveTo>
                  <a:pt x="131" y="10"/>
                </a:moveTo>
                <a:cubicBezTo>
                  <a:pt x="131" y="5"/>
                  <a:pt x="128" y="1"/>
                  <a:pt x="124" y="1"/>
                </a:cubicBezTo>
                <a:cubicBezTo>
                  <a:pt x="9" y="0"/>
                  <a:pt x="9" y="0"/>
                  <a:pt x="9" y="0"/>
                </a:cubicBezTo>
                <a:cubicBezTo>
                  <a:pt x="4" y="0"/>
                  <a:pt x="1" y="4"/>
                  <a:pt x="1" y="9"/>
                </a:cubicBezTo>
                <a:cubicBezTo>
                  <a:pt x="0" y="80"/>
                  <a:pt x="0" y="80"/>
                  <a:pt x="0" y="80"/>
                </a:cubicBezTo>
                <a:cubicBezTo>
                  <a:pt x="0" y="81"/>
                  <a:pt x="0" y="81"/>
                  <a:pt x="0" y="81"/>
                </a:cubicBezTo>
                <a:cubicBezTo>
                  <a:pt x="0" y="82"/>
                  <a:pt x="0" y="82"/>
                  <a:pt x="0" y="83"/>
                </a:cubicBezTo>
                <a:cubicBezTo>
                  <a:pt x="0" y="88"/>
                  <a:pt x="2" y="92"/>
                  <a:pt x="6" y="95"/>
                </a:cubicBezTo>
                <a:cubicBezTo>
                  <a:pt x="6" y="95"/>
                  <a:pt x="6" y="95"/>
                  <a:pt x="6" y="95"/>
                </a:cubicBezTo>
                <a:cubicBezTo>
                  <a:pt x="6" y="95"/>
                  <a:pt x="6" y="95"/>
                  <a:pt x="6" y="95"/>
                </a:cubicBezTo>
                <a:cubicBezTo>
                  <a:pt x="7" y="97"/>
                  <a:pt x="9" y="98"/>
                  <a:pt x="10" y="98"/>
                </a:cubicBezTo>
                <a:cubicBezTo>
                  <a:pt x="49" y="122"/>
                  <a:pt x="49" y="122"/>
                  <a:pt x="49" y="122"/>
                </a:cubicBezTo>
                <a:cubicBezTo>
                  <a:pt x="51" y="126"/>
                  <a:pt x="54" y="129"/>
                  <a:pt x="57" y="129"/>
                </a:cubicBezTo>
                <a:cubicBezTo>
                  <a:pt x="74" y="129"/>
                  <a:pt x="74" y="129"/>
                  <a:pt x="74" y="129"/>
                </a:cubicBezTo>
                <a:cubicBezTo>
                  <a:pt x="76" y="129"/>
                  <a:pt x="80" y="126"/>
                  <a:pt x="82" y="123"/>
                </a:cubicBezTo>
                <a:cubicBezTo>
                  <a:pt x="121" y="99"/>
                  <a:pt x="121" y="99"/>
                  <a:pt x="121" y="99"/>
                </a:cubicBezTo>
                <a:cubicBezTo>
                  <a:pt x="123" y="98"/>
                  <a:pt x="124" y="97"/>
                  <a:pt x="126" y="96"/>
                </a:cubicBezTo>
                <a:cubicBezTo>
                  <a:pt x="126" y="96"/>
                  <a:pt x="126" y="96"/>
                  <a:pt x="126" y="96"/>
                </a:cubicBezTo>
                <a:cubicBezTo>
                  <a:pt x="126" y="96"/>
                  <a:pt x="126" y="96"/>
                  <a:pt x="126" y="96"/>
                </a:cubicBezTo>
                <a:cubicBezTo>
                  <a:pt x="129" y="93"/>
                  <a:pt x="131" y="89"/>
                  <a:pt x="131" y="84"/>
                </a:cubicBezTo>
                <a:cubicBezTo>
                  <a:pt x="131" y="83"/>
                  <a:pt x="131" y="83"/>
                  <a:pt x="131" y="82"/>
                </a:cubicBezTo>
                <a:cubicBezTo>
                  <a:pt x="131" y="82"/>
                  <a:pt x="131" y="81"/>
                  <a:pt x="131" y="81"/>
                </a:cubicBezTo>
                <a:cubicBezTo>
                  <a:pt x="131" y="10"/>
                  <a:pt x="131" y="10"/>
                  <a:pt x="131" y="10"/>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1" name="Freeform 108"/>
          <p:cNvSpPr>
            <a:spLocks/>
          </p:cNvSpPr>
          <p:nvPr userDrawn="1"/>
        </p:nvSpPr>
        <p:spPr bwMode="auto">
          <a:xfrm>
            <a:off x="8601984" y="3083307"/>
            <a:ext cx="136278" cy="329388"/>
          </a:xfrm>
          <a:custGeom>
            <a:avLst/>
            <a:gdLst>
              <a:gd name="T0" fmla="*/ 49 w 51"/>
              <a:gd name="T1" fmla="*/ 122 h 126"/>
              <a:gd name="T2" fmla="*/ 15 w 51"/>
              <a:gd name="T3" fmla="*/ 98 h 126"/>
              <a:gd name="T4" fmla="*/ 10 w 51"/>
              <a:gd name="T5" fmla="*/ 95 h 126"/>
              <a:gd name="T6" fmla="*/ 10 w 51"/>
              <a:gd name="T7" fmla="*/ 95 h 126"/>
              <a:gd name="T8" fmla="*/ 10 w 51"/>
              <a:gd name="T9" fmla="*/ 95 h 126"/>
              <a:gd name="T10" fmla="*/ 5 w 51"/>
              <a:gd name="T11" fmla="*/ 83 h 126"/>
              <a:gd name="T12" fmla="*/ 5 w 51"/>
              <a:gd name="T13" fmla="*/ 81 h 126"/>
              <a:gd name="T14" fmla="*/ 5 w 51"/>
              <a:gd name="T15" fmla="*/ 80 h 126"/>
              <a:gd name="T16" fmla="*/ 5 w 51"/>
              <a:gd name="T17" fmla="*/ 9 h 126"/>
              <a:gd name="T18" fmla="*/ 13 w 51"/>
              <a:gd name="T19" fmla="*/ 0 h 126"/>
              <a:gd name="T20" fmla="*/ 9 w 51"/>
              <a:gd name="T21" fmla="*/ 0 h 126"/>
              <a:gd name="T22" fmla="*/ 1 w 51"/>
              <a:gd name="T23" fmla="*/ 9 h 126"/>
              <a:gd name="T24" fmla="*/ 0 w 51"/>
              <a:gd name="T25" fmla="*/ 80 h 126"/>
              <a:gd name="T26" fmla="*/ 0 w 51"/>
              <a:gd name="T27" fmla="*/ 81 h 126"/>
              <a:gd name="T28" fmla="*/ 0 w 51"/>
              <a:gd name="T29" fmla="*/ 83 h 126"/>
              <a:gd name="T30" fmla="*/ 6 w 51"/>
              <a:gd name="T31" fmla="*/ 95 h 126"/>
              <a:gd name="T32" fmla="*/ 6 w 51"/>
              <a:gd name="T33" fmla="*/ 95 h 126"/>
              <a:gd name="T34" fmla="*/ 6 w 51"/>
              <a:gd name="T35" fmla="*/ 95 h 126"/>
              <a:gd name="T36" fmla="*/ 10 w 51"/>
              <a:gd name="T37" fmla="*/ 98 h 126"/>
              <a:gd name="T38" fmla="*/ 49 w 51"/>
              <a:gd name="T39" fmla="*/ 122 h 126"/>
              <a:gd name="T40" fmla="*/ 49 w 51"/>
              <a:gd name="T41" fmla="*/ 12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26">
                <a:moveTo>
                  <a:pt x="49" y="122"/>
                </a:moveTo>
                <a:cubicBezTo>
                  <a:pt x="15" y="98"/>
                  <a:pt x="15" y="98"/>
                  <a:pt x="15" y="98"/>
                </a:cubicBezTo>
                <a:cubicBezTo>
                  <a:pt x="13" y="98"/>
                  <a:pt x="12" y="97"/>
                  <a:pt x="10" y="95"/>
                </a:cubicBezTo>
                <a:cubicBezTo>
                  <a:pt x="10" y="95"/>
                  <a:pt x="10" y="95"/>
                  <a:pt x="10" y="95"/>
                </a:cubicBezTo>
                <a:cubicBezTo>
                  <a:pt x="10" y="95"/>
                  <a:pt x="10" y="95"/>
                  <a:pt x="10" y="95"/>
                </a:cubicBezTo>
                <a:cubicBezTo>
                  <a:pt x="7" y="92"/>
                  <a:pt x="5" y="88"/>
                  <a:pt x="5" y="83"/>
                </a:cubicBezTo>
                <a:cubicBezTo>
                  <a:pt x="5" y="82"/>
                  <a:pt x="5" y="82"/>
                  <a:pt x="5" y="81"/>
                </a:cubicBezTo>
                <a:cubicBezTo>
                  <a:pt x="5" y="81"/>
                  <a:pt x="5" y="81"/>
                  <a:pt x="5" y="80"/>
                </a:cubicBezTo>
                <a:cubicBezTo>
                  <a:pt x="5" y="9"/>
                  <a:pt x="5" y="9"/>
                  <a:pt x="5" y="9"/>
                </a:cubicBezTo>
                <a:cubicBezTo>
                  <a:pt x="5" y="4"/>
                  <a:pt x="9" y="0"/>
                  <a:pt x="13" y="0"/>
                </a:cubicBezTo>
                <a:cubicBezTo>
                  <a:pt x="9" y="0"/>
                  <a:pt x="9" y="0"/>
                  <a:pt x="9" y="0"/>
                </a:cubicBezTo>
                <a:cubicBezTo>
                  <a:pt x="4" y="0"/>
                  <a:pt x="1" y="4"/>
                  <a:pt x="1" y="9"/>
                </a:cubicBezTo>
                <a:cubicBezTo>
                  <a:pt x="0" y="80"/>
                  <a:pt x="0" y="80"/>
                  <a:pt x="0" y="80"/>
                </a:cubicBezTo>
                <a:cubicBezTo>
                  <a:pt x="0" y="81"/>
                  <a:pt x="0" y="81"/>
                  <a:pt x="0" y="81"/>
                </a:cubicBezTo>
                <a:cubicBezTo>
                  <a:pt x="0" y="82"/>
                  <a:pt x="0" y="82"/>
                  <a:pt x="0" y="83"/>
                </a:cubicBezTo>
                <a:cubicBezTo>
                  <a:pt x="0" y="88"/>
                  <a:pt x="2" y="92"/>
                  <a:pt x="6" y="95"/>
                </a:cubicBezTo>
                <a:cubicBezTo>
                  <a:pt x="6" y="95"/>
                  <a:pt x="6" y="95"/>
                  <a:pt x="6" y="95"/>
                </a:cubicBezTo>
                <a:cubicBezTo>
                  <a:pt x="6" y="95"/>
                  <a:pt x="6" y="95"/>
                  <a:pt x="6" y="95"/>
                </a:cubicBezTo>
                <a:cubicBezTo>
                  <a:pt x="7" y="97"/>
                  <a:pt x="9" y="98"/>
                  <a:pt x="10" y="98"/>
                </a:cubicBezTo>
                <a:cubicBezTo>
                  <a:pt x="49" y="122"/>
                  <a:pt x="49" y="122"/>
                  <a:pt x="49" y="122"/>
                </a:cubicBezTo>
                <a:cubicBezTo>
                  <a:pt x="51" y="126"/>
                  <a:pt x="51" y="126"/>
                  <a:pt x="49" y="122"/>
                </a:cubicBez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2" name="Freeform 109"/>
          <p:cNvSpPr>
            <a:spLocks/>
          </p:cNvSpPr>
          <p:nvPr userDrawn="1"/>
        </p:nvSpPr>
        <p:spPr bwMode="auto">
          <a:xfrm>
            <a:off x="8821543" y="3098450"/>
            <a:ext cx="128707" cy="306671"/>
          </a:xfrm>
          <a:custGeom>
            <a:avLst/>
            <a:gdLst>
              <a:gd name="T0" fmla="*/ 49 w 49"/>
              <a:gd name="T1" fmla="*/ 4 h 117"/>
              <a:gd name="T2" fmla="*/ 45 w 49"/>
              <a:gd name="T3" fmla="*/ 71 h 117"/>
              <a:gd name="T4" fmla="*/ 45 w 49"/>
              <a:gd name="T5" fmla="*/ 72 h 117"/>
              <a:gd name="T6" fmla="*/ 45 w 49"/>
              <a:gd name="T7" fmla="*/ 73 h 117"/>
              <a:gd name="T8" fmla="*/ 40 w 49"/>
              <a:gd name="T9" fmla="*/ 85 h 117"/>
              <a:gd name="T10" fmla="*/ 35 w 49"/>
              <a:gd name="T11" fmla="*/ 89 h 117"/>
              <a:gd name="T12" fmla="*/ 0 w 49"/>
              <a:gd name="T13" fmla="*/ 117 h 117"/>
              <a:gd name="T14" fmla="*/ 39 w 49"/>
              <a:gd name="T15" fmla="*/ 93 h 117"/>
              <a:gd name="T16" fmla="*/ 44 w 49"/>
              <a:gd name="T17" fmla="*/ 90 h 117"/>
              <a:gd name="T18" fmla="*/ 44 w 49"/>
              <a:gd name="T19" fmla="*/ 90 h 117"/>
              <a:gd name="T20" fmla="*/ 44 w 49"/>
              <a:gd name="T21" fmla="*/ 90 h 117"/>
              <a:gd name="T22" fmla="*/ 49 w 49"/>
              <a:gd name="T23" fmla="*/ 78 h 117"/>
              <a:gd name="T24" fmla="*/ 49 w 49"/>
              <a:gd name="T25" fmla="*/ 76 h 117"/>
              <a:gd name="T26" fmla="*/ 49 w 49"/>
              <a:gd name="T27" fmla="*/ 75 h 117"/>
              <a:gd name="T28" fmla="*/ 49 w 49"/>
              <a:gd name="T29" fmla="*/ 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117">
                <a:moveTo>
                  <a:pt x="49" y="4"/>
                </a:moveTo>
                <a:cubicBezTo>
                  <a:pt x="49" y="0"/>
                  <a:pt x="45" y="71"/>
                  <a:pt x="45" y="71"/>
                </a:cubicBezTo>
                <a:cubicBezTo>
                  <a:pt x="45" y="71"/>
                  <a:pt x="45" y="71"/>
                  <a:pt x="45" y="72"/>
                </a:cubicBezTo>
                <a:cubicBezTo>
                  <a:pt x="45" y="72"/>
                  <a:pt x="45" y="73"/>
                  <a:pt x="45" y="73"/>
                </a:cubicBezTo>
                <a:cubicBezTo>
                  <a:pt x="45" y="78"/>
                  <a:pt x="41" y="84"/>
                  <a:pt x="40" y="85"/>
                </a:cubicBezTo>
                <a:cubicBezTo>
                  <a:pt x="38" y="86"/>
                  <a:pt x="37" y="87"/>
                  <a:pt x="35" y="89"/>
                </a:cubicBezTo>
                <a:cubicBezTo>
                  <a:pt x="33" y="90"/>
                  <a:pt x="3" y="114"/>
                  <a:pt x="0" y="117"/>
                </a:cubicBezTo>
                <a:cubicBezTo>
                  <a:pt x="39" y="93"/>
                  <a:pt x="39" y="93"/>
                  <a:pt x="39" y="93"/>
                </a:cubicBezTo>
                <a:cubicBezTo>
                  <a:pt x="41" y="92"/>
                  <a:pt x="42" y="91"/>
                  <a:pt x="44" y="90"/>
                </a:cubicBezTo>
                <a:cubicBezTo>
                  <a:pt x="44" y="90"/>
                  <a:pt x="44" y="90"/>
                  <a:pt x="44" y="90"/>
                </a:cubicBezTo>
                <a:cubicBezTo>
                  <a:pt x="44" y="90"/>
                  <a:pt x="44" y="90"/>
                  <a:pt x="44" y="90"/>
                </a:cubicBezTo>
                <a:cubicBezTo>
                  <a:pt x="47" y="87"/>
                  <a:pt x="49" y="83"/>
                  <a:pt x="49" y="78"/>
                </a:cubicBezTo>
                <a:cubicBezTo>
                  <a:pt x="49" y="77"/>
                  <a:pt x="49" y="77"/>
                  <a:pt x="49" y="76"/>
                </a:cubicBezTo>
                <a:cubicBezTo>
                  <a:pt x="49" y="76"/>
                  <a:pt x="49" y="75"/>
                  <a:pt x="49" y="75"/>
                </a:cubicBezTo>
                <a:lnTo>
                  <a:pt x="49" y="4"/>
                </a:ln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3" name="Freeform 110"/>
          <p:cNvSpPr>
            <a:spLocks/>
          </p:cNvSpPr>
          <p:nvPr userDrawn="1"/>
        </p:nvSpPr>
        <p:spPr bwMode="auto">
          <a:xfrm>
            <a:off x="8700407" y="3196887"/>
            <a:ext cx="37855" cy="34076"/>
          </a:xfrm>
          <a:custGeom>
            <a:avLst/>
            <a:gdLst>
              <a:gd name="T0" fmla="*/ 7 w 15"/>
              <a:gd name="T1" fmla="*/ 11 h 12"/>
              <a:gd name="T2" fmla="*/ 13 w 15"/>
              <a:gd name="T3" fmla="*/ 12 h 12"/>
              <a:gd name="T4" fmla="*/ 15 w 15"/>
              <a:gd name="T5" fmla="*/ 7 h 12"/>
              <a:gd name="T6" fmla="*/ 7 w 15"/>
              <a:gd name="T7" fmla="*/ 0 h 12"/>
              <a:gd name="T8" fmla="*/ 0 w 15"/>
              <a:gd name="T9" fmla="*/ 7 h 12"/>
              <a:gd name="T10" fmla="*/ 2 w 15"/>
              <a:gd name="T11" fmla="*/ 12 h 12"/>
              <a:gd name="T12" fmla="*/ 7 w 15"/>
              <a:gd name="T13" fmla="*/ 11 h 12"/>
            </a:gdLst>
            <a:ahLst/>
            <a:cxnLst>
              <a:cxn ang="0">
                <a:pos x="T0" y="T1"/>
              </a:cxn>
              <a:cxn ang="0">
                <a:pos x="T2" y="T3"/>
              </a:cxn>
              <a:cxn ang="0">
                <a:pos x="T4" y="T5"/>
              </a:cxn>
              <a:cxn ang="0">
                <a:pos x="T6" y="T7"/>
              </a:cxn>
              <a:cxn ang="0">
                <a:pos x="T8" y="T9"/>
              </a:cxn>
              <a:cxn ang="0">
                <a:pos x="T10" y="T11"/>
              </a:cxn>
              <a:cxn ang="0">
                <a:pos x="T12" y="T13"/>
              </a:cxn>
            </a:cxnLst>
            <a:rect l="0" t="0" r="r" b="b"/>
            <a:pathLst>
              <a:path w="15" h="12">
                <a:moveTo>
                  <a:pt x="7" y="11"/>
                </a:moveTo>
                <a:cubicBezTo>
                  <a:pt x="9" y="11"/>
                  <a:pt x="11" y="11"/>
                  <a:pt x="13" y="12"/>
                </a:cubicBezTo>
                <a:cubicBezTo>
                  <a:pt x="14" y="11"/>
                  <a:pt x="15" y="9"/>
                  <a:pt x="15" y="7"/>
                </a:cubicBezTo>
                <a:cubicBezTo>
                  <a:pt x="15" y="3"/>
                  <a:pt x="11" y="0"/>
                  <a:pt x="7" y="0"/>
                </a:cubicBezTo>
                <a:cubicBezTo>
                  <a:pt x="3" y="0"/>
                  <a:pt x="0" y="3"/>
                  <a:pt x="0" y="7"/>
                </a:cubicBezTo>
                <a:cubicBezTo>
                  <a:pt x="0" y="9"/>
                  <a:pt x="0" y="11"/>
                  <a:pt x="2" y="12"/>
                </a:cubicBezTo>
                <a:cubicBezTo>
                  <a:pt x="3" y="11"/>
                  <a:pt x="5" y="11"/>
                  <a:pt x="7" y="11"/>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4" name="Freeform 111"/>
          <p:cNvSpPr>
            <a:spLocks/>
          </p:cNvSpPr>
          <p:nvPr userDrawn="1"/>
        </p:nvSpPr>
        <p:spPr bwMode="auto">
          <a:xfrm>
            <a:off x="8817759" y="3196887"/>
            <a:ext cx="37855" cy="34076"/>
          </a:xfrm>
          <a:custGeom>
            <a:avLst/>
            <a:gdLst>
              <a:gd name="T0" fmla="*/ 8 w 15"/>
              <a:gd name="T1" fmla="*/ 11 h 12"/>
              <a:gd name="T2" fmla="*/ 13 w 15"/>
              <a:gd name="T3" fmla="*/ 12 h 12"/>
              <a:gd name="T4" fmla="*/ 15 w 15"/>
              <a:gd name="T5" fmla="*/ 7 h 12"/>
              <a:gd name="T6" fmla="*/ 8 w 15"/>
              <a:gd name="T7" fmla="*/ 0 h 12"/>
              <a:gd name="T8" fmla="*/ 0 w 15"/>
              <a:gd name="T9" fmla="*/ 7 h 12"/>
              <a:gd name="T10" fmla="*/ 2 w 15"/>
              <a:gd name="T11" fmla="*/ 12 h 12"/>
              <a:gd name="T12" fmla="*/ 8 w 15"/>
              <a:gd name="T13" fmla="*/ 11 h 12"/>
            </a:gdLst>
            <a:ahLst/>
            <a:cxnLst>
              <a:cxn ang="0">
                <a:pos x="T0" y="T1"/>
              </a:cxn>
              <a:cxn ang="0">
                <a:pos x="T2" y="T3"/>
              </a:cxn>
              <a:cxn ang="0">
                <a:pos x="T4" y="T5"/>
              </a:cxn>
              <a:cxn ang="0">
                <a:pos x="T6" y="T7"/>
              </a:cxn>
              <a:cxn ang="0">
                <a:pos x="T8" y="T9"/>
              </a:cxn>
              <a:cxn ang="0">
                <a:pos x="T10" y="T11"/>
              </a:cxn>
              <a:cxn ang="0">
                <a:pos x="T12" y="T13"/>
              </a:cxn>
            </a:cxnLst>
            <a:rect l="0" t="0" r="r" b="b"/>
            <a:pathLst>
              <a:path w="15" h="12">
                <a:moveTo>
                  <a:pt x="8" y="11"/>
                </a:moveTo>
                <a:cubicBezTo>
                  <a:pt x="10" y="11"/>
                  <a:pt x="12" y="11"/>
                  <a:pt x="13" y="12"/>
                </a:cubicBezTo>
                <a:cubicBezTo>
                  <a:pt x="14" y="11"/>
                  <a:pt x="15" y="9"/>
                  <a:pt x="15" y="7"/>
                </a:cubicBezTo>
                <a:cubicBezTo>
                  <a:pt x="15" y="3"/>
                  <a:pt x="12" y="0"/>
                  <a:pt x="8" y="0"/>
                </a:cubicBezTo>
                <a:cubicBezTo>
                  <a:pt x="4" y="0"/>
                  <a:pt x="0" y="3"/>
                  <a:pt x="0" y="7"/>
                </a:cubicBezTo>
                <a:cubicBezTo>
                  <a:pt x="0" y="9"/>
                  <a:pt x="1" y="11"/>
                  <a:pt x="2" y="12"/>
                </a:cubicBezTo>
                <a:cubicBezTo>
                  <a:pt x="4" y="11"/>
                  <a:pt x="6" y="11"/>
                  <a:pt x="8" y="11"/>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5" name="Freeform 112"/>
          <p:cNvSpPr>
            <a:spLocks/>
          </p:cNvSpPr>
          <p:nvPr userDrawn="1"/>
        </p:nvSpPr>
        <p:spPr bwMode="auto">
          <a:xfrm>
            <a:off x="8594412" y="3034088"/>
            <a:ext cx="246060" cy="147658"/>
          </a:xfrm>
          <a:custGeom>
            <a:avLst/>
            <a:gdLst>
              <a:gd name="T0" fmla="*/ 4 w 94"/>
              <a:gd name="T1" fmla="*/ 32 h 56"/>
              <a:gd name="T2" fmla="*/ 4 w 94"/>
              <a:gd name="T3" fmla="*/ 56 h 56"/>
              <a:gd name="T4" fmla="*/ 94 w 94"/>
              <a:gd name="T5" fmla="*/ 0 h 56"/>
              <a:gd name="T6" fmla="*/ 0 w 94"/>
              <a:gd name="T7" fmla="*/ 12 h 56"/>
            </a:gdLst>
            <a:ahLst/>
            <a:cxnLst>
              <a:cxn ang="0">
                <a:pos x="T0" y="T1"/>
              </a:cxn>
              <a:cxn ang="0">
                <a:pos x="T2" y="T3"/>
              </a:cxn>
              <a:cxn ang="0">
                <a:pos x="T4" y="T5"/>
              </a:cxn>
              <a:cxn ang="0">
                <a:pos x="T6" y="T7"/>
              </a:cxn>
            </a:cxnLst>
            <a:rect l="0" t="0" r="r" b="b"/>
            <a:pathLst>
              <a:path w="94" h="56">
                <a:moveTo>
                  <a:pt x="4" y="32"/>
                </a:moveTo>
                <a:cubicBezTo>
                  <a:pt x="4" y="56"/>
                  <a:pt x="4" y="56"/>
                  <a:pt x="4" y="56"/>
                </a:cubicBezTo>
                <a:cubicBezTo>
                  <a:pt x="4" y="56"/>
                  <a:pt x="87" y="54"/>
                  <a:pt x="94" y="0"/>
                </a:cubicBezTo>
                <a:cubicBezTo>
                  <a:pt x="0" y="9"/>
                  <a:pt x="0" y="12"/>
                  <a:pt x="0" y="12"/>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6" name="Freeform 113"/>
          <p:cNvSpPr>
            <a:spLocks/>
          </p:cNvSpPr>
          <p:nvPr userDrawn="1"/>
        </p:nvSpPr>
        <p:spPr bwMode="auto">
          <a:xfrm>
            <a:off x="8825330" y="3026517"/>
            <a:ext cx="136278" cy="132513"/>
          </a:xfrm>
          <a:custGeom>
            <a:avLst/>
            <a:gdLst>
              <a:gd name="T0" fmla="*/ 51 w 51"/>
              <a:gd name="T1" fmla="*/ 38 h 50"/>
              <a:gd name="T2" fmla="*/ 51 w 51"/>
              <a:gd name="T3" fmla="*/ 50 h 50"/>
              <a:gd name="T4" fmla="*/ 0 w 51"/>
              <a:gd name="T5" fmla="*/ 22 h 50"/>
              <a:gd name="T6" fmla="*/ 45 w 51"/>
              <a:gd name="T7" fmla="*/ 0 h 50"/>
            </a:gdLst>
            <a:ahLst/>
            <a:cxnLst>
              <a:cxn ang="0">
                <a:pos x="T0" y="T1"/>
              </a:cxn>
              <a:cxn ang="0">
                <a:pos x="T2" y="T3"/>
              </a:cxn>
              <a:cxn ang="0">
                <a:pos x="T4" y="T5"/>
              </a:cxn>
              <a:cxn ang="0">
                <a:pos x="T6" y="T7"/>
              </a:cxn>
            </a:cxnLst>
            <a:rect l="0" t="0" r="r" b="b"/>
            <a:pathLst>
              <a:path w="51" h="50">
                <a:moveTo>
                  <a:pt x="51" y="38"/>
                </a:moveTo>
                <a:cubicBezTo>
                  <a:pt x="51" y="50"/>
                  <a:pt x="51" y="50"/>
                  <a:pt x="51" y="50"/>
                </a:cubicBezTo>
                <a:cubicBezTo>
                  <a:pt x="51" y="50"/>
                  <a:pt x="3" y="50"/>
                  <a:pt x="0" y="22"/>
                </a:cubicBezTo>
                <a:cubicBezTo>
                  <a:pt x="23" y="8"/>
                  <a:pt x="45" y="0"/>
                  <a:pt x="45" y="0"/>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7" name="Freeform 114"/>
          <p:cNvSpPr>
            <a:spLocks/>
          </p:cNvSpPr>
          <p:nvPr userDrawn="1"/>
        </p:nvSpPr>
        <p:spPr bwMode="auto">
          <a:xfrm>
            <a:off x="8719336" y="3302897"/>
            <a:ext cx="121136" cy="37860"/>
          </a:xfrm>
          <a:custGeom>
            <a:avLst/>
            <a:gdLst>
              <a:gd name="T0" fmla="*/ 0 w 45"/>
              <a:gd name="T1" fmla="*/ 0 h 15"/>
              <a:gd name="T2" fmla="*/ 23 w 45"/>
              <a:gd name="T3" fmla="*/ 15 h 15"/>
              <a:gd name="T4" fmla="*/ 45 w 45"/>
              <a:gd name="T5" fmla="*/ 0 h 15"/>
              <a:gd name="T6" fmla="*/ 0 w 45"/>
              <a:gd name="T7" fmla="*/ 0 h 15"/>
            </a:gdLst>
            <a:ahLst/>
            <a:cxnLst>
              <a:cxn ang="0">
                <a:pos x="T0" y="T1"/>
              </a:cxn>
              <a:cxn ang="0">
                <a:pos x="T2" y="T3"/>
              </a:cxn>
              <a:cxn ang="0">
                <a:pos x="T4" y="T5"/>
              </a:cxn>
              <a:cxn ang="0">
                <a:pos x="T6" y="T7"/>
              </a:cxn>
            </a:cxnLst>
            <a:rect l="0" t="0" r="r" b="b"/>
            <a:pathLst>
              <a:path w="45" h="15">
                <a:moveTo>
                  <a:pt x="0" y="0"/>
                </a:moveTo>
                <a:cubicBezTo>
                  <a:pt x="0" y="0"/>
                  <a:pt x="5" y="15"/>
                  <a:pt x="23" y="15"/>
                </a:cubicBezTo>
                <a:cubicBezTo>
                  <a:pt x="40" y="15"/>
                  <a:pt x="45" y="0"/>
                  <a:pt x="45" y="0"/>
                </a:cubicBezTo>
                <a:lnTo>
                  <a:pt x="0"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8" name="Freeform 115"/>
          <p:cNvSpPr>
            <a:spLocks/>
          </p:cNvSpPr>
          <p:nvPr userDrawn="1"/>
        </p:nvSpPr>
        <p:spPr bwMode="auto">
          <a:xfrm>
            <a:off x="8726907" y="3302897"/>
            <a:ext cx="102210" cy="30288"/>
          </a:xfrm>
          <a:custGeom>
            <a:avLst/>
            <a:gdLst>
              <a:gd name="T0" fmla="*/ 0 w 39"/>
              <a:gd name="T1" fmla="*/ 0 h 12"/>
              <a:gd name="T2" fmla="*/ 20 w 39"/>
              <a:gd name="T3" fmla="*/ 12 h 12"/>
              <a:gd name="T4" fmla="*/ 39 w 39"/>
              <a:gd name="T5" fmla="*/ 0 h 12"/>
              <a:gd name="T6" fmla="*/ 0 w 39"/>
              <a:gd name="T7" fmla="*/ 0 h 12"/>
            </a:gdLst>
            <a:ahLst/>
            <a:cxnLst>
              <a:cxn ang="0">
                <a:pos x="T0" y="T1"/>
              </a:cxn>
              <a:cxn ang="0">
                <a:pos x="T2" y="T3"/>
              </a:cxn>
              <a:cxn ang="0">
                <a:pos x="T4" y="T5"/>
              </a:cxn>
              <a:cxn ang="0">
                <a:pos x="T6" y="T7"/>
              </a:cxn>
            </a:cxnLst>
            <a:rect l="0" t="0" r="r" b="b"/>
            <a:pathLst>
              <a:path w="39" h="12">
                <a:moveTo>
                  <a:pt x="0" y="0"/>
                </a:moveTo>
                <a:cubicBezTo>
                  <a:pt x="4" y="7"/>
                  <a:pt x="11" y="12"/>
                  <a:pt x="20" y="12"/>
                </a:cubicBezTo>
                <a:cubicBezTo>
                  <a:pt x="28" y="12"/>
                  <a:pt x="35" y="7"/>
                  <a:pt x="39"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9" name="Freeform 116"/>
          <p:cNvSpPr>
            <a:spLocks/>
          </p:cNvSpPr>
          <p:nvPr userDrawn="1"/>
        </p:nvSpPr>
        <p:spPr bwMode="auto">
          <a:xfrm>
            <a:off x="8753404" y="3196887"/>
            <a:ext cx="22714" cy="68149"/>
          </a:xfrm>
          <a:custGeom>
            <a:avLst/>
            <a:gdLst>
              <a:gd name="T0" fmla="*/ 8 w 8"/>
              <a:gd name="T1" fmla="*/ 0 h 26"/>
              <a:gd name="T2" fmla="*/ 3 w 8"/>
              <a:gd name="T3" fmla="*/ 5 h 26"/>
              <a:gd name="T4" fmla="*/ 0 w 8"/>
              <a:gd name="T5" fmla="*/ 26 h 26"/>
              <a:gd name="T6" fmla="*/ 8 w 8"/>
              <a:gd name="T7" fmla="*/ 26 h 26"/>
              <a:gd name="T8" fmla="*/ 8 w 8"/>
              <a:gd name="T9" fmla="*/ 0 h 26"/>
              <a:gd name="T10" fmla="*/ 8 w 8"/>
              <a:gd name="T11" fmla="*/ 0 h 26"/>
            </a:gdLst>
            <a:ahLst/>
            <a:cxnLst>
              <a:cxn ang="0">
                <a:pos x="T0" y="T1"/>
              </a:cxn>
              <a:cxn ang="0">
                <a:pos x="T2" y="T3"/>
              </a:cxn>
              <a:cxn ang="0">
                <a:pos x="T4" y="T5"/>
              </a:cxn>
              <a:cxn ang="0">
                <a:pos x="T6" y="T7"/>
              </a:cxn>
              <a:cxn ang="0">
                <a:pos x="T8" y="T9"/>
              </a:cxn>
              <a:cxn ang="0">
                <a:pos x="T10" y="T11"/>
              </a:cxn>
            </a:cxnLst>
            <a:rect l="0" t="0" r="r" b="b"/>
            <a:pathLst>
              <a:path w="8" h="26">
                <a:moveTo>
                  <a:pt x="8" y="0"/>
                </a:moveTo>
                <a:cubicBezTo>
                  <a:pt x="6" y="0"/>
                  <a:pt x="3" y="2"/>
                  <a:pt x="3" y="5"/>
                </a:cubicBezTo>
                <a:cubicBezTo>
                  <a:pt x="0" y="26"/>
                  <a:pt x="0" y="26"/>
                  <a:pt x="0" y="26"/>
                </a:cubicBezTo>
                <a:cubicBezTo>
                  <a:pt x="8" y="26"/>
                  <a:pt x="8" y="26"/>
                  <a:pt x="8" y="26"/>
                </a:cubicBezTo>
                <a:cubicBezTo>
                  <a:pt x="8" y="0"/>
                  <a:pt x="8" y="0"/>
                  <a:pt x="8" y="0"/>
                </a:cubicBezTo>
                <a:cubicBezTo>
                  <a:pt x="8" y="0"/>
                  <a:pt x="8" y="0"/>
                  <a:pt x="8" y="0"/>
                </a:cubicBezTo>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0" name="Freeform 117"/>
          <p:cNvSpPr>
            <a:spLocks/>
          </p:cNvSpPr>
          <p:nvPr userDrawn="1"/>
        </p:nvSpPr>
        <p:spPr bwMode="auto">
          <a:xfrm>
            <a:off x="8768546" y="3454339"/>
            <a:ext cx="302841" cy="662560"/>
          </a:xfrm>
          <a:custGeom>
            <a:avLst/>
            <a:gdLst>
              <a:gd name="T0" fmla="*/ 20 w 115"/>
              <a:gd name="T1" fmla="*/ 0 h 251"/>
              <a:gd name="T2" fmla="*/ 12 w 115"/>
              <a:gd name="T3" fmla="*/ 0 h 251"/>
              <a:gd name="T4" fmla="*/ 107 w 115"/>
              <a:gd name="T5" fmla="*/ 48 h 251"/>
              <a:gd name="T6" fmla="*/ 77 w 115"/>
              <a:gd name="T7" fmla="*/ 97 h 251"/>
              <a:gd name="T8" fmla="*/ 38 w 115"/>
              <a:gd name="T9" fmla="*/ 237 h 251"/>
              <a:gd name="T10" fmla="*/ 0 w 115"/>
              <a:gd name="T11" fmla="*/ 251 h 251"/>
              <a:gd name="T12" fmla="*/ 4 w 115"/>
              <a:gd name="T13" fmla="*/ 251 h 251"/>
              <a:gd name="T14" fmla="*/ 49 w 115"/>
              <a:gd name="T15" fmla="*/ 237 h 251"/>
              <a:gd name="T16" fmla="*/ 85 w 115"/>
              <a:gd name="T17" fmla="*/ 97 h 251"/>
              <a:gd name="T18" fmla="*/ 115 w 115"/>
              <a:gd name="T19" fmla="*/ 48 h 251"/>
              <a:gd name="T20" fmla="*/ 20 w 115"/>
              <a:gd name="T21"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5" h="251">
                <a:moveTo>
                  <a:pt x="20" y="0"/>
                </a:moveTo>
                <a:cubicBezTo>
                  <a:pt x="17" y="0"/>
                  <a:pt x="14" y="0"/>
                  <a:pt x="12" y="0"/>
                </a:cubicBezTo>
                <a:cubicBezTo>
                  <a:pt x="80" y="0"/>
                  <a:pt x="107" y="48"/>
                  <a:pt x="107" y="48"/>
                </a:cubicBezTo>
                <a:cubicBezTo>
                  <a:pt x="77" y="97"/>
                  <a:pt x="77" y="97"/>
                  <a:pt x="77" y="97"/>
                </a:cubicBezTo>
                <a:cubicBezTo>
                  <a:pt x="38" y="237"/>
                  <a:pt x="38" y="237"/>
                  <a:pt x="38" y="237"/>
                </a:cubicBezTo>
                <a:cubicBezTo>
                  <a:pt x="38" y="237"/>
                  <a:pt x="27" y="250"/>
                  <a:pt x="0" y="251"/>
                </a:cubicBezTo>
                <a:cubicBezTo>
                  <a:pt x="1" y="251"/>
                  <a:pt x="3" y="251"/>
                  <a:pt x="4" y="251"/>
                </a:cubicBezTo>
                <a:cubicBezTo>
                  <a:pt x="33" y="251"/>
                  <a:pt x="49" y="237"/>
                  <a:pt x="49" y="237"/>
                </a:cubicBezTo>
                <a:cubicBezTo>
                  <a:pt x="85" y="97"/>
                  <a:pt x="85" y="97"/>
                  <a:pt x="85" y="97"/>
                </a:cubicBezTo>
                <a:cubicBezTo>
                  <a:pt x="115" y="48"/>
                  <a:pt x="115" y="48"/>
                  <a:pt x="115" y="48"/>
                </a:cubicBezTo>
                <a:cubicBezTo>
                  <a:pt x="115" y="48"/>
                  <a:pt x="88" y="0"/>
                  <a:pt x="20" y="0"/>
                </a:cubicBez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 name="Title 1"/>
          <p:cNvSpPr>
            <a:spLocks noGrp="1"/>
          </p:cNvSpPr>
          <p:nvPr userDrawn="1">
            <p:ph type="title" hasCustomPrompt="1"/>
          </p:nvPr>
        </p:nvSpPr>
        <p:spPr>
          <a:xfrm>
            <a:off x="381294" y="917254"/>
            <a:ext cx="5714707" cy="5023491"/>
          </a:xfrm>
        </p:spPr>
        <p:txBody>
          <a:bodyPr wrap="square" anchor="ctr"/>
          <a:lstStyle>
            <a:lvl1pPr>
              <a:defRPr sz="5294">
                <a:gradFill>
                  <a:gsLst>
                    <a:gs pos="2917">
                      <a:schemeClr val="bg1"/>
                    </a:gs>
                    <a:gs pos="100000">
                      <a:schemeClr val="bg1"/>
                    </a:gs>
                  </a:gsLst>
                  <a:lin ang="5400000" scaled="0"/>
                </a:gradFill>
                <a:latin typeface="Segoe UI Semilight" panose="020B0402040204020203" pitchFamily="34" charset="0"/>
                <a:cs typeface="Segoe UI Semilight" panose="020B0402040204020203" pitchFamily="34" charset="0"/>
              </a:defRPr>
            </a:lvl1pPr>
          </a:lstStyle>
          <a:p>
            <a:r>
              <a:rPr lang="en-US"/>
              <a:t>Click to add section divider titl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67807" y="6116477"/>
            <a:ext cx="1358520" cy="515207"/>
          </a:xfrm>
          <a:prstGeom prst="rect">
            <a:avLst/>
          </a:prstGeom>
        </p:spPr>
      </p:pic>
    </p:spTree>
    <p:extLst>
      <p:ext uri="{BB962C8B-B14F-4D97-AF65-F5344CB8AC3E}">
        <p14:creationId xmlns:p14="http://schemas.microsoft.com/office/powerpoint/2010/main" val="234718187"/>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reen Section Lifestyle">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2" name="Title 1"/>
          <p:cNvSpPr>
            <a:spLocks noGrp="1"/>
          </p:cNvSpPr>
          <p:nvPr>
            <p:ph type="title" hasCustomPrompt="1"/>
          </p:nvPr>
        </p:nvSpPr>
        <p:spPr>
          <a:xfrm>
            <a:off x="381293" y="917254"/>
            <a:ext cx="5378549" cy="5023491"/>
          </a:xfrm>
        </p:spPr>
        <p:txBody>
          <a:bodyPr wrap="square" anchor="ctr"/>
          <a:lstStyle>
            <a:lvl1pPr>
              <a:defRPr sz="5294">
                <a:gradFill>
                  <a:gsLst>
                    <a:gs pos="2917">
                      <a:schemeClr val="bg1"/>
                    </a:gs>
                    <a:gs pos="100000">
                      <a:schemeClr val="bg1">
                        <a:alpha val="99000"/>
                      </a:schemeClr>
                    </a:gs>
                  </a:gsLst>
                  <a:lin ang="5400000" scaled="0"/>
                </a:gradFill>
                <a:latin typeface="Segoe UI Semilight" panose="020B0402040204020203" pitchFamily="34" charset="0"/>
                <a:cs typeface="Segoe UI Semilight" panose="020B0402040204020203" pitchFamily="34" charset="0"/>
              </a:defRPr>
            </a:lvl1pPr>
          </a:lstStyle>
          <a:p>
            <a:r>
              <a:rPr lang="en-US"/>
              <a:t>Click to add section divider titl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67807" y="6116477"/>
            <a:ext cx="1358520" cy="515207"/>
          </a:xfrm>
          <a:prstGeom prst="rect">
            <a:avLst/>
          </a:prstGeom>
        </p:spPr>
      </p:pic>
      <p:sp>
        <p:nvSpPr>
          <p:cNvPr id="8" name="Rectangle 6"/>
          <p:cNvSpPr>
            <a:spLocks noChangeArrowheads="1"/>
          </p:cNvSpPr>
          <p:nvPr userDrawn="1"/>
        </p:nvSpPr>
        <p:spPr bwMode="auto">
          <a:xfrm>
            <a:off x="6201830" y="1666092"/>
            <a:ext cx="5607324" cy="3256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06" name="Picture Placeholder 3"/>
          <p:cNvSpPr>
            <a:spLocks noGrp="1"/>
          </p:cNvSpPr>
          <p:nvPr>
            <p:ph type="pic" sz="quarter" idx="10"/>
          </p:nvPr>
        </p:nvSpPr>
        <p:spPr>
          <a:xfrm>
            <a:off x="6096001" y="0"/>
            <a:ext cx="6096000" cy="6858000"/>
          </a:xfrm>
          <a:blipFill>
            <a:blip r:embed="rId3"/>
            <a:stretch>
              <a:fillRect/>
            </a:stretch>
          </a:blipFill>
        </p:spPr>
        <p:txBody>
          <a:bodyPr anchor="ctr"/>
          <a:lstStyle>
            <a:lvl1pPr algn="ctr">
              <a:defRPr>
                <a:solidFill>
                  <a:schemeClr val="bg1">
                    <a:alpha val="0"/>
                  </a:schemeClr>
                </a:solidFill>
              </a:defRPr>
            </a:lvl1pPr>
          </a:lstStyle>
          <a:p>
            <a:endParaRPr lang="en-US"/>
          </a:p>
        </p:txBody>
      </p:sp>
    </p:spTree>
    <p:extLst>
      <p:ext uri="{BB962C8B-B14F-4D97-AF65-F5344CB8AC3E}">
        <p14:creationId xmlns:p14="http://schemas.microsoft.com/office/powerpoint/2010/main" val="1104421427"/>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reen Section Divider">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2" name="Title 1"/>
          <p:cNvSpPr>
            <a:spLocks noGrp="1"/>
          </p:cNvSpPr>
          <p:nvPr>
            <p:ph type="title" hasCustomPrompt="1"/>
          </p:nvPr>
        </p:nvSpPr>
        <p:spPr>
          <a:xfrm>
            <a:off x="381294" y="917254"/>
            <a:ext cx="5714707" cy="5023491"/>
          </a:xfrm>
        </p:spPr>
        <p:txBody>
          <a:bodyPr wrap="square" anchor="ctr"/>
          <a:lstStyle>
            <a:lvl1pPr>
              <a:defRPr sz="5294">
                <a:gradFill>
                  <a:gsLst>
                    <a:gs pos="2917">
                      <a:schemeClr val="bg1"/>
                    </a:gs>
                    <a:gs pos="100000">
                      <a:schemeClr val="bg1">
                        <a:alpha val="99000"/>
                      </a:schemeClr>
                    </a:gs>
                  </a:gsLst>
                  <a:lin ang="5400000" scaled="0"/>
                </a:gradFill>
                <a:latin typeface="Segoe UI Semilight" panose="020B0402040204020203" pitchFamily="34" charset="0"/>
                <a:cs typeface="Segoe UI Semilight" panose="020B0402040204020203" pitchFamily="34" charset="0"/>
              </a:defRPr>
            </a:lvl1pPr>
          </a:lstStyle>
          <a:p>
            <a:r>
              <a:rPr lang="en-US"/>
              <a:t>Click to add section divider titl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67807" y="6116477"/>
            <a:ext cx="1358520" cy="515207"/>
          </a:xfrm>
          <a:prstGeom prst="rect">
            <a:avLst/>
          </a:prstGeom>
        </p:spPr>
      </p:pic>
      <p:grpSp>
        <p:nvGrpSpPr>
          <p:cNvPr id="211" name="Group 210"/>
          <p:cNvGrpSpPr/>
          <p:nvPr userDrawn="1"/>
        </p:nvGrpSpPr>
        <p:grpSpPr>
          <a:xfrm>
            <a:off x="6572789" y="1907575"/>
            <a:ext cx="1261022" cy="3053430"/>
            <a:chOff x="6574910" y="1945550"/>
            <a:chExt cx="1286308" cy="3114216"/>
          </a:xfrm>
        </p:grpSpPr>
        <p:sp>
          <p:nvSpPr>
            <p:cNvPr id="32" name="Freeform 28"/>
            <p:cNvSpPr>
              <a:spLocks/>
            </p:cNvSpPr>
            <p:nvPr userDrawn="1"/>
          </p:nvSpPr>
          <p:spPr bwMode="auto">
            <a:xfrm>
              <a:off x="6574910" y="2120638"/>
              <a:ext cx="1057528" cy="1174254"/>
            </a:xfrm>
            <a:custGeom>
              <a:avLst/>
              <a:gdLst>
                <a:gd name="T0" fmla="*/ 442 w 482"/>
                <a:gd name="T1" fmla="*/ 431 h 539"/>
                <a:gd name="T2" fmla="*/ 281 w 482"/>
                <a:gd name="T3" fmla="*/ 524 h 539"/>
                <a:gd name="T4" fmla="*/ 201 w 482"/>
                <a:gd name="T5" fmla="*/ 524 h 539"/>
                <a:gd name="T6" fmla="*/ 40 w 482"/>
                <a:gd name="T7" fmla="*/ 431 h 539"/>
                <a:gd name="T8" fmla="*/ 0 w 482"/>
                <a:gd name="T9" fmla="*/ 362 h 539"/>
                <a:gd name="T10" fmla="*/ 0 w 482"/>
                <a:gd name="T11" fmla="*/ 176 h 539"/>
                <a:gd name="T12" fmla="*/ 40 w 482"/>
                <a:gd name="T13" fmla="*/ 107 h 539"/>
                <a:gd name="T14" fmla="*/ 201 w 482"/>
                <a:gd name="T15" fmla="*/ 14 h 539"/>
                <a:gd name="T16" fmla="*/ 281 w 482"/>
                <a:gd name="T17" fmla="*/ 14 h 539"/>
                <a:gd name="T18" fmla="*/ 442 w 482"/>
                <a:gd name="T19" fmla="*/ 107 h 539"/>
                <a:gd name="T20" fmla="*/ 482 w 482"/>
                <a:gd name="T21" fmla="*/ 176 h 539"/>
                <a:gd name="T22" fmla="*/ 482 w 482"/>
                <a:gd name="T23" fmla="*/ 362 h 539"/>
                <a:gd name="T24" fmla="*/ 442 w 482"/>
                <a:gd name="T25" fmla="*/ 431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2" h="539">
                  <a:moveTo>
                    <a:pt x="442" y="431"/>
                  </a:moveTo>
                  <a:cubicBezTo>
                    <a:pt x="281" y="524"/>
                    <a:pt x="281" y="524"/>
                    <a:pt x="281" y="524"/>
                  </a:cubicBezTo>
                  <a:cubicBezTo>
                    <a:pt x="256" y="539"/>
                    <a:pt x="226" y="539"/>
                    <a:pt x="201" y="524"/>
                  </a:cubicBezTo>
                  <a:cubicBezTo>
                    <a:pt x="40" y="431"/>
                    <a:pt x="40" y="431"/>
                    <a:pt x="40" y="431"/>
                  </a:cubicBezTo>
                  <a:cubicBezTo>
                    <a:pt x="15" y="417"/>
                    <a:pt x="0" y="391"/>
                    <a:pt x="0" y="362"/>
                  </a:cubicBezTo>
                  <a:cubicBezTo>
                    <a:pt x="0" y="176"/>
                    <a:pt x="0" y="176"/>
                    <a:pt x="0" y="176"/>
                  </a:cubicBezTo>
                  <a:cubicBezTo>
                    <a:pt x="0" y="148"/>
                    <a:pt x="15" y="121"/>
                    <a:pt x="40" y="107"/>
                  </a:cubicBezTo>
                  <a:cubicBezTo>
                    <a:pt x="201" y="14"/>
                    <a:pt x="201" y="14"/>
                    <a:pt x="201" y="14"/>
                  </a:cubicBezTo>
                  <a:cubicBezTo>
                    <a:pt x="226" y="0"/>
                    <a:pt x="256" y="0"/>
                    <a:pt x="281" y="14"/>
                  </a:cubicBezTo>
                  <a:cubicBezTo>
                    <a:pt x="442" y="107"/>
                    <a:pt x="442" y="107"/>
                    <a:pt x="442" y="107"/>
                  </a:cubicBezTo>
                  <a:cubicBezTo>
                    <a:pt x="467" y="121"/>
                    <a:pt x="482" y="148"/>
                    <a:pt x="482" y="176"/>
                  </a:cubicBezTo>
                  <a:cubicBezTo>
                    <a:pt x="482" y="362"/>
                    <a:pt x="482" y="362"/>
                    <a:pt x="482" y="362"/>
                  </a:cubicBezTo>
                  <a:cubicBezTo>
                    <a:pt x="482" y="391"/>
                    <a:pt x="467" y="417"/>
                    <a:pt x="442" y="431"/>
                  </a:cubicBezTo>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Freeform 29"/>
            <p:cNvSpPr>
              <a:spLocks/>
            </p:cNvSpPr>
            <p:nvPr userDrawn="1"/>
          </p:nvSpPr>
          <p:spPr bwMode="auto">
            <a:xfrm>
              <a:off x="6845713" y="2774297"/>
              <a:ext cx="483242" cy="520594"/>
            </a:xfrm>
            <a:custGeom>
              <a:avLst/>
              <a:gdLst>
                <a:gd name="T0" fmla="*/ 0 w 221"/>
                <a:gd name="T1" fmla="*/ 0 h 239"/>
                <a:gd name="T2" fmla="*/ 0 w 221"/>
                <a:gd name="T3" fmla="*/ 179 h 239"/>
                <a:gd name="T4" fmla="*/ 78 w 221"/>
                <a:gd name="T5" fmla="*/ 224 h 239"/>
                <a:gd name="T6" fmla="*/ 158 w 221"/>
                <a:gd name="T7" fmla="*/ 224 h 239"/>
                <a:gd name="T8" fmla="*/ 221 w 221"/>
                <a:gd name="T9" fmla="*/ 188 h 239"/>
                <a:gd name="T10" fmla="*/ 221 w 221"/>
                <a:gd name="T11" fmla="*/ 0 h 239"/>
                <a:gd name="T12" fmla="*/ 0 w 221"/>
                <a:gd name="T13" fmla="*/ 0 h 239"/>
              </a:gdLst>
              <a:ahLst/>
              <a:cxnLst>
                <a:cxn ang="0">
                  <a:pos x="T0" y="T1"/>
                </a:cxn>
                <a:cxn ang="0">
                  <a:pos x="T2" y="T3"/>
                </a:cxn>
                <a:cxn ang="0">
                  <a:pos x="T4" y="T5"/>
                </a:cxn>
                <a:cxn ang="0">
                  <a:pos x="T6" y="T7"/>
                </a:cxn>
                <a:cxn ang="0">
                  <a:pos x="T8" y="T9"/>
                </a:cxn>
                <a:cxn ang="0">
                  <a:pos x="T10" y="T11"/>
                </a:cxn>
                <a:cxn ang="0">
                  <a:pos x="T12" y="T13"/>
                </a:cxn>
              </a:cxnLst>
              <a:rect l="0" t="0" r="r" b="b"/>
              <a:pathLst>
                <a:path w="221" h="239">
                  <a:moveTo>
                    <a:pt x="0" y="0"/>
                  </a:moveTo>
                  <a:cubicBezTo>
                    <a:pt x="0" y="179"/>
                    <a:pt x="0" y="179"/>
                    <a:pt x="0" y="179"/>
                  </a:cubicBezTo>
                  <a:cubicBezTo>
                    <a:pt x="78" y="224"/>
                    <a:pt x="78" y="224"/>
                    <a:pt x="78" y="224"/>
                  </a:cubicBezTo>
                  <a:cubicBezTo>
                    <a:pt x="103" y="239"/>
                    <a:pt x="133" y="239"/>
                    <a:pt x="158" y="224"/>
                  </a:cubicBezTo>
                  <a:cubicBezTo>
                    <a:pt x="221" y="188"/>
                    <a:pt x="221" y="188"/>
                    <a:pt x="221" y="188"/>
                  </a:cubicBezTo>
                  <a:cubicBezTo>
                    <a:pt x="221" y="0"/>
                    <a:pt x="221" y="0"/>
                    <a:pt x="221" y="0"/>
                  </a:cubicBezTo>
                  <a:lnTo>
                    <a:pt x="0" y="0"/>
                  </a:lnTo>
                  <a:close/>
                </a:path>
              </a:pathLst>
            </a:custGeom>
            <a:solidFill>
              <a:srgbClr val="FFF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Freeform 30"/>
            <p:cNvSpPr>
              <a:spLocks/>
            </p:cNvSpPr>
            <p:nvPr userDrawn="1"/>
          </p:nvSpPr>
          <p:spPr bwMode="auto">
            <a:xfrm>
              <a:off x="6574910" y="3782800"/>
              <a:ext cx="1057528" cy="1176588"/>
            </a:xfrm>
            <a:custGeom>
              <a:avLst/>
              <a:gdLst>
                <a:gd name="T0" fmla="*/ 442 w 482"/>
                <a:gd name="T1" fmla="*/ 432 h 539"/>
                <a:gd name="T2" fmla="*/ 281 w 482"/>
                <a:gd name="T3" fmla="*/ 525 h 539"/>
                <a:gd name="T4" fmla="*/ 201 w 482"/>
                <a:gd name="T5" fmla="*/ 525 h 539"/>
                <a:gd name="T6" fmla="*/ 40 w 482"/>
                <a:gd name="T7" fmla="*/ 432 h 539"/>
                <a:gd name="T8" fmla="*/ 0 w 482"/>
                <a:gd name="T9" fmla="*/ 362 h 539"/>
                <a:gd name="T10" fmla="*/ 0 w 482"/>
                <a:gd name="T11" fmla="*/ 176 h 539"/>
                <a:gd name="T12" fmla="*/ 40 w 482"/>
                <a:gd name="T13" fmla="*/ 107 h 539"/>
                <a:gd name="T14" fmla="*/ 201 w 482"/>
                <a:gd name="T15" fmla="*/ 14 h 539"/>
                <a:gd name="T16" fmla="*/ 281 w 482"/>
                <a:gd name="T17" fmla="*/ 14 h 539"/>
                <a:gd name="T18" fmla="*/ 442 w 482"/>
                <a:gd name="T19" fmla="*/ 107 h 539"/>
                <a:gd name="T20" fmla="*/ 482 w 482"/>
                <a:gd name="T21" fmla="*/ 176 h 539"/>
                <a:gd name="T22" fmla="*/ 482 w 482"/>
                <a:gd name="T23" fmla="*/ 362 h 539"/>
                <a:gd name="T24" fmla="*/ 442 w 482"/>
                <a:gd name="T25" fmla="*/ 432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2" h="539">
                  <a:moveTo>
                    <a:pt x="442" y="432"/>
                  </a:moveTo>
                  <a:cubicBezTo>
                    <a:pt x="281" y="525"/>
                    <a:pt x="281" y="525"/>
                    <a:pt x="281" y="525"/>
                  </a:cubicBezTo>
                  <a:cubicBezTo>
                    <a:pt x="256" y="539"/>
                    <a:pt x="226" y="539"/>
                    <a:pt x="201" y="525"/>
                  </a:cubicBezTo>
                  <a:cubicBezTo>
                    <a:pt x="40" y="432"/>
                    <a:pt x="40" y="432"/>
                    <a:pt x="40" y="432"/>
                  </a:cubicBezTo>
                  <a:cubicBezTo>
                    <a:pt x="15" y="417"/>
                    <a:pt x="0" y="391"/>
                    <a:pt x="0" y="362"/>
                  </a:cubicBezTo>
                  <a:cubicBezTo>
                    <a:pt x="0" y="176"/>
                    <a:pt x="0" y="176"/>
                    <a:pt x="0" y="176"/>
                  </a:cubicBezTo>
                  <a:cubicBezTo>
                    <a:pt x="0" y="148"/>
                    <a:pt x="15" y="121"/>
                    <a:pt x="40" y="107"/>
                  </a:cubicBezTo>
                  <a:cubicBezTo>
                    <a:pt x="201" y="14"/>
                    <a:pt x="201" y="14"/>
                    <a:pt x="201" y="14"/>
                  </a:cubicBezTo>
                  <a:cubicBezTo>
                    <a:pt x="226" y="0"/>
                    <a:pt x="256" y="0"/>
                    <a:pt x="281" y="14"/>
                  </a:cubicBezTo>
                  <a:cubicBezTo>
                    <a:pt x="442" y="107"/>
                    <a:pt x="442" y="107"/>
                    <a:pt x="442" y="107"/>
                  </a:cubicBezTo>
                  <a:cubicBezTo>
                    <a:pt x="467" y="121"/>
                    <a:pt x="482" y="148"/>
                    <a:pt x="482" y="176"/>
                  </a:cubicBezTo>
                  <a:cubicBezTo>
                    <a:pt x="482" y="362"/>
                    <a:pt x="482" y="362"/>
                    <a:pt x="482" y="362"/>
                  </a:cubicBezTo>
                  <a:cubicBezTo>
                    <a:pt x="482" y="391"/>
                    <a:pt x="467" y="417"/>
                    <a:pt x="442" y="4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Freeform 31"/>
            <p:cNvSpPr>
              <a:spLocks/>
            </p:cNvSpPr>
            <p:nvPr userDrawn="1"/>
          </p:nvSpPr>
          <p:spPr bwMode="auto">
            <a:xfrm>
              <a:off x="6815364" y="4373428"/>
              <a:ext cx="536934" cy="585960"/>
            </a:xfrm>
            <a:custGeom>
              <a:avLst/>
              <a:gdLst>
                <a:gd name="T0" fmla="*/ 245 w 245"/>
                <a:gd name="T1" fmla="*/ 0 h 269"/>
                <a:gd name="T2" fmla="*/ 0 w 245"/>
                <a:gd name="T3" fmla="*/ 0 h 269"/>
                <a:gd name="T4" fmla="*/ 0 w 245"/>
                <a:gd name="T5" fmla="*/ 202 h 269"/>
                <a:gd name="T6" fmla="*/ 91 w 245"/>
                <a:gd name="T7" fmla="*/ 255 h 269"/>
                <a:gd name="T8" fmla="*/ 171 w 245"/>
                <a:gd name="T9" fmla="*/ 255 h 269"/>
                <a:gd name="T10" fmla="*/ 245 w 245"/>
                <a:gd name="T11" fmla="*/ 212 h 269"/>
                <a:gd name="T12" fmla="*/ 245 w 245"/>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245" h="269">
                  <a:moveTo>
                    <a:pt x="245" y="0"/>
                  </a:moveTo>
                  <a:cubicBezTo>
                    <a:pt x="0" y="0"/>
                    <a:pt x="0" y="0"/>
                    <a:pt x="0" y="0"/>
                  </a:cubicBezTo>
                  <a:cubicBezTo>
                    <a:pt x="0" y="202"/>
                    <a:pt x="0" y="202"/>
                    <a:pt x="0" y="202"/>
                  </a:cubicBezTo>
                  <a:cubicBezTo>
                    <a:pt x="91" y="255"/>
                    <a:pt x="91" y="255"/>
                    <a:pt x="91" y="255"/>
                  </a:cubicBezTo>
                  <a:cubicBezTo>
                    <a:pt x="116" y="269"/>
                    <a:pt x="146" y="269"/>
                    <a:pt x="171" y="255"/>
                  </a:cubicBezTo>
                  <a:cubicBezTo>
                    <a:pt x="245" y="212"/>
                    <a:pt x="245" y="212"/>
                    <a:pt x="245" y="212"/>
                  </a:cubicBezTo>
                  <a:cubicBezTo>
                    <a:pt x="245" y="0"/>
                    <a:pt x="245" y="0"/>
                    <a:pt x="24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Freeform 32"/>
            <p:cNvSpPr>
              <a:spLocks/>
            </p:cNvSpPr>
            <p:nvPr userDrawn="1"/>
          </p:nvSpPr>
          <p:spPr bwMode="auto">
            <a:xfrm>
              <a:off x="7632438" y="2699593"/>
              <a:ext cx="114391" cy="1678506"/>
            </a:xfrm>
            <a:custGeom>
              <a:avLst/>
              <a:gdLst>
                <a:gd name="T0" fmla="*/ 0 w 49"/>
                <a:gd name="T1" fmla="*/ 7 h 719"/>
                <a:gd name="T2" fmla="*/ 42 w 49"/>
                <a:gd name="T3" fmla="*/ 7 h 719"/>
                <a:gd name="T4" fmla="*/ 42 w 49"/>
                <a:gd name="T5" fmla="*/ 712 h 719"/>
                <a:gd name="T6" fmla="*/ 0 w 49"/>
                <a:gd name="T7" fmla="*/ 712 h 719"/>
                <a:gd name="T8" fmla="*/ 0 w 49"/>
                <a:gd name="T9" fmla="*/ 719 h 719"/>
                <a:gd name="T10" fmla="*/ 49 w 49"/>
                <a:gd name="T11" fmla="*/ 719 h 719"/>
                <a:gd name="T12" fmla="*/ 49 w 49"/>
                <a:gd name="T13" fmla="*/ 0 h 719"/>
                <a:gd name="T14" fmla="*/ 0 w 49"/>
                <a:gd name="T15" fmla="*/ 0 h 719"/>
                <a:gd name="T16" fmla="*/ 0 w 49"/>
                <a:gd name="T17" fmla="*/ 7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19">
                  <a:moveTo>
                    <a:pt x="0" y="7"/>
                  </a:moveTo>
                  <a:lnTo>
                    <a:pt x="42" y="7"/>
                  </a:lnTo>
                  <a:lnTo>
                    <a:pt x="42" y="712"/>
                  </a:lnTo>
                  <a:lnTo>
                    <a:pt x="0" y="712"/>
                  </a:lnTo>
                  <a:lnTo>
                    <a:pt x="0" y="719"/>
                  </a:lnTo>
                  <a:lnTo>
                    <a:pt x="49" y="719"/>
                  </a:lnTo>
                  <a:lnTo>
                    <a:pt x="49" y="0"/>
                  </a:lnTo>
                  <a:lnTo>
                    <a:pt x="0" y="0"/>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Freeform 33"/>
            <p:cNvSpPr>
              <a:spLocks/>
            </p:cNvSpPr>
            <p:nvPr userDrawn="1"/>
          </p:nvSpPr>
          <p:spPr bwMode="auto">
            <a:xfrm>
              <a:off x="7632438" y="2699593"/>
              <a:ext cx="114391" cy="1678506"/>
            </a:xfrm>
            <a:custGeom>
              <a:avLst/>
              <a:gdLst>
                <a:gd name="T0" fmla="*/ 0 w 49"/>
                <a:gd name="T1" fmla="*/ 7 h 719"/>
                <a:gd name="T2" fmla="*/ 42 w 49"/>
                <a:gd name="T3" fmla="*/ 7 h 719"/>
                <a:gd name="T4" fmla="*/ 42 w 49"/>
                <a:gd name="T5" fmla="*/ 712 h 719"/>
                <a:gd name="T6" fmla="*/ 0 w 49"/>
                <a:gd name="T7" fmla="*/ 712 h 719"/>
                <a:gd name="T8" fmla="*/ 0 w 49"/>
                <a:gd name="T9" fmla="*/ 719 h 719"/>
                <a:gd name="T10" fmla="*/ 49 w 49"/>
                <a:gd name="T11" fmla="*/ 719 h 719"/>
                <a:gd name="T12" fmla="*/ 49 w 49"/>
                <a:gd name="T13" fmla="*/ 0 h 719"/>
                <a:gd name="T14" fmla="*/ 0 w 49"/>
                <a:gd name="T15" fmla="*/ 0 h 719"/>
                <a:gd name="T16" fmla="*/ 0 w 49"/>
                <a:gd name="T17" fmla="*/ 7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19">
                  <a:moveTo>
                    <a:pt x="0" y="7"/>
                  </a:moveTo>
                  <a:lnTo>
                    <a:pt x="42" y="7"/>
                  </a:lnTo>
                  <a:lnTo>
                    <a:pt x="42" y="712"/>
                  </a:lnTo>
                  <a:lnTo>
                    <a:pt x="0" y="712"/>
                  </a:lnTo>
                  <a:lnTo>
                    <a:pt x="0" y="719"/>
                  </a:lnTo>
                  <a:lnTo>
                    <a:pt x="49" y="719"/>
                  </a:lnTo>
                  <a:lnTo>
                    <a:pt x="49" y="0"/>
                  </a:lnTo>
                  <a:lnTo>
                    <a:pt x="0"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Rectangle 34"/>
            <p:cNvSpPr>
              <a:spLocks noChangeArrowheads="1"/>
            </p:cNvSpPr>
            <p:nvPr userDrawn="1"/>
          </p:nvSpPr>
          <p:spPr bwMode="auto">
            <a:xfrm>
              <a:off x="7739824" y="3530673"/>
              <a:ext cx="121394" cy="186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Freeform 35"/>
            <p:cNvSpPr>
              <a:spLocks/>
            </p:cNvSpPr>
            <p:nvPr userDrawn="1"/>
          </p:nvSpPr>
          <p:spPr bwMode="auto">
            <a:xfrm>
              <a:off x="7739824" y="3530673"/>
              <a:ext cx="121394" cy="18676"/>
            </a:xfrm>
            <a:custGeom>
              <a:avLst/>
              <a:gdLst>
                <a:gd name="T0" fmla="*/ 0 w 52"/>
                <a:gd name="T1" fmla="*/ 8 h 8"/>
                <a:gd name="T2" fmla="*/ 52 w 52"/>
                <a:gd name="T3" fmla="*/ 8 h 8"/>
                <a:gd name="T4" fmla="*/ 52 w 52"/>
                <a:gd name="T5" fmla="*/ 0 h 8"/>
                <a:gd name="T6" fmla="*/ 0 w 52"/>
                <a:gd name="T7" fmla="*/ 0 h 8"/>
              </a:gdLst>
              <a:ahLst/>
              <a:cxnLst>
                <a:cxn ang="0">
                  <a:pos x="T0" y="T1"/>
                </a:cxn>
                <a:cxn ang="0">
                  <a:pos x="T2" y="T3"/>
                </a:cxn>
                <a:cxn ang="0">
                  <a:pos x="T4" y="T5"/>
                </a:cxn>
                <a:cxn ang="0">
                  <a:pos x="T6" y="T7"/>
                </a:cxn>
              </a:cxnLst>
              <a:rect l="0" t="0" r="r" b="b"/>
              <a:pathLst>
                <a:path w="52" h="8">
                  <a:moveTo>
                    <a:pt x="0" y="8"/>
                  </a:moveTo>
                  <a:lnTo>
                    <a:pt x="52" y="8"/>
                  </a:lnTo>
                  <a:lnTo>
                    <a:pt x="5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1" name="Freeform 87"/>
            <p:cNvSpPr>
              <a:spLocks/>
            </p:cNvSpPr>
            <p:nvPr userDrawn="1"/>
          </p:nvSpPr>
          <p:spPr bwMode="auto">
            <a:xfrm>
              <a:off x="7277595" y="2746283"/>
              <a:ext cx="184426" cy="469235"/>
            </a:xfrm>
            <a:custGeom>
              <a:avLst/>
              <a:gdLst>
                <a:gd name="T0" fmla="*/ 72 w 85"/>
                <a:gd name="T1" fmla="*/ 0 h 215"/>
                <a:gd name="T2" fmla="*/ 14 w 85"/>
                <a:gd name="T3" fmla="*/ 0 h 215"/>
                <a:gd name="T4" fmla="*/ 27 w 85"/>
                <a:gd name="T5" fmla="*/ 121 h 215"/>
                <a:gd name="T6" fmla="*/ 27 w 85"/>
                <a:gd name="T7" fmla="*/ 121 h 215"/>
                <a:gd name="T8" fmla="*/ 0 w 85"/>
                <a:gd name="T9" fmla="*/ 215 h 215"/>
                <a:gd name="T10" fmla="*/ 70 w 85"/>
                <a:gd name="T11" fmla="*/ 174 h 215"/>
                <a:gd name="T12" fmla="*/ 83 w 85"/>
                <a:gd name="T13" fmla="*/ 134 h 215"/>
                <a:gd name="T14" fmla="*/ 85 w 85"/>
                <a:gd name="T15" fmla="*/ 112 h 215"/>
                <a:gd name="T16" fmla="*/ 72 w 85"/>
                <a:gd name="T17"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215">
                  <a:moveTo>
                    <a:pt x="72" y="0"/>
                  </a:moveTo>
                  <a:cubicBezTo>
                    <a:pt x="14" y="0"/>
                    <a:pt x="14" y="0"/>
                    <a:pt x="14" y="0"/>
                  </a:cubicBezTo>
                  <a:cubicBezTo>
                    <a:pt x="27" y="121"/>
                    <a:pt x="27" y="121"/>
                    <a:pt x="27" y="121"/>
                  </a:cubicBezTo>
                  <a:cubicBezTo>
                    <a:pt x="27" y="121"/>
                    <a:pt x="27" y="121"/>
                    <a:pt x="27" y="121"/>
                  </a:cubicBezTo>
                  <a:cubicBezTo>
                    <a:pt x="0" y="215"/>
                    <a:pt x="0" y="215"/>
                    <a:pt x="0" y="215"/>
                  </a:cubicBezTo>
                  <a:cubicBezTo>
                    <a:pt x="70" y="174"/>
                    <a:pt x="70" y="174"/>
                    <a:pt x="70" y="174"/>
                  </a:cubicBezTo>
                  <a:cubicBezTo>
                    <a:pt x="83" y="134"/>
                    <a:pt x="83" y="134"/>
                    <a:pt x="83" y="134"/>
                  </a:cubicBezTo>
                  <a:cubicBezTo>
                    <a:pt x="85" y="127"/>
                    <a:pt x="85" y="119"/>
                    <a:pt x="85" y="112"/>
                  </a:cubicBezTo>
                  <a:cubicBezTo>
                    <a:pt x="72" y="0"/>
                    <a:pt x="72" y="0"/>
                    <a:pt x="72" y="0"/>
                  </a:cubicBezTo>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2" name="Freeform 88"/>
            <p:cNvSpPr>
              <a:spLocks/>
            </p:cNvSpPr>
            <p:nvPr userDrawn="1"/>
          </p:nvSpPr>
          <p:spPr bwMode="auto">
            <a:xfrm>
              <a:off x="6733656" y="2529174"/>
              <a:ext cx="714357" cy="333834"/>
            </a:xfrm>
            <a:custGeom>
              <a:avLst/>
              <a:gdLst>
                <a:gd name="T0" fmla="*/ 326 w 326"/>
                <a:gd name="T1" fmla="*/ 153 h 153"/>
                <a:gd name="T2" fmla="*/ 316 w 326"/>
                <a:gd name="T3" fmla="*/ 57 h 153"/>
                <a:gd name="T4" fmla="*/ 250 w 326"/>
                <a:gd name="T5" fmla="*/ 0 h 153"/>
                <a:gd name="T6" fmla="*/ 80 w 326"/>
                <a:gd name="T7" fmla="*/ 0 h 153"/>
                <a:gd name="T8" fmla="*/ 14 w 326"/>
                <a:gd name="T9" fmla="*/ 57 h 153"/>
                <a:gd name="T10" fmla="*/ 0 w 326"/>
                <a:gd name="T11" fmla="*/ 153 h 153"/>
                <a:gd name="T12" fmla="*/ 326 w 326"/>
                <a:gd name="T13" fmla="*/ 153 h 153"/>
              </a:gdLst>
              <a:ahLst/>
              <a:cxnLst>
                <a:cxn ang="0">
                  <a:pos x="T0" y="T1"/>
                </a:cxn>
                <a:cxn ang="0">
                  <a:pos x="T2" y="T3"/>
                </a:cxn>
                <a:cxn ang="0">
                  <a:pos x="T4" y="T5"/>
                </a:cxn>
                <a:cxn ang="0">
                  <a:pos x="T6" y="T7"/>
                </a:cxn>
                <a:cxn ang="0">
                  <a:pos x="T8" y="T9"/>
                </a:cxn>
                <a:cxn ang="0">
                  <a:pos x="T10" y="T11"/>
                </a:cxn>
                <a:cxn ang="0">
                  <a:pos x="T12" y="T13"/>
                </a:cxn>
              </a:cxnLst>
              <a:rect l="0" t="0" r="r" b="b"/>
              <a:pathLst>
                <a:path w="326" h="153">
                  <a:moveTo>
                    <a:pt x="326" y="153"/>
                  </a:moveTo>
                  <a:cubicBezTo>
                    <a:pt x="316" y="57"/>
                    <a:pt x="316" y="57"/>
                    <a:pt x="316" y="57"/>
                  </a:cubicBezTo>
                  <a:cubicBezTo>
                    <a:pt x="311" y="24"/>
                    <a:pt x="283" y="0"/>
                    <a:pt x="250" y="0"/>
                  </a:cubicBezTo>
                  <a:cubicBezTo>
                    <a:pt x="80" y="0"/>
                    <a:pt x="80" y="0"/>
                    <a:pt x="80" y="0"/>
                  </a:cubicBezTo>
                  <a:cubicBezTo>
                    <a:pt x="47" y="0"/>
                    <a:pt x="19" y="24"/>
                    <a:pt x="14" y="57"/>
                  </a:cubicBezTo>
                  <a:cubicBezTo>
                    <a:pt x="0" y="153"/>
                    <a:pt x="0" y="153"/>
                    <a:pt x="0" y="153"/>
                  </a:cubicBezTo>
                  <a:cubicBezTo>
                    <a:pt x="326" y="153"/>
                    <a:pt x="326" y="153"/>
                    <a:pt x="326" y="153"/>
                  </a:cubicBezTo>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3" name="Freeform 89"/>
            <p:cNvSpPr>
              <a:spLocks/>
            </p:cNvSpPr>
            <p:nvPr userDrawn="1"/>
          </p:nvSpPr>
          <p:spPr bwMode="auto">
            <a:xfrm>
              <a:off x="6733656" y="2529174"/>
              <a:ext cx="714357" cy="338503"/>
            </a:xfrm>
            <a:custGeom>
              <a:avLst/>
              <a:gdLst>
                <a:gd name="T0" fmla="*/ 326 w 326"/>
                <a:gd name="T1" fmla="*/ 156 h 156"/>
                <a:gd name="T2" fmla="*/ 316 w 326"/>
                <a:gd name="T3" fmla="*/ 57 h 156"/>
                <a:gd name="T4" fmla="*/ 250 w 326"/>
                <a:gd name="T5" fmla="*/ 0 h 156"/>
                <a:gd name="T6" fmla="*/ 80 w 326"/>
                <a:gd name="T7" fmla="*/ 0 h 156"/>
                <a:gd name="T8" fmla="*/ 14 w 326"/>
                <a:gd name="T9" fmla="*/ 57 h 156"/>
                <a:gd name="T10" fmla="*/ 0 w 326"/>
                <a:gd name="T11" fmla="*/ 153 h 156"/>
                <a:gd name="T12" fmla="*/ 326 w 326"/>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326" h="156">
                  <a:moveTo>
                    <a:pt x="326" y="156"/>
                  </a:moveTo>
                  <a:cubicBezTo>
                    <a:pt x="316" y="57"/>
                    <a:pt x="316" y="57"/>
                    <a:pt x="316" y="57"/>
                  </a:cubicBezTo>
                  <a:cubicBezTo>
                    <a:pt x="311" y="24"/>
                    <a:pt x="283" y="0"/>
                    <a:pt x="250" y="0"/>
                  </a:cubicBezTo>
                  <a:cubicBezTo>
                    <a:pt x="80" y="0"/>
                    <a:pt x="80" y="0"/>
                    <a:pt x="80" y="0"/>
                  </a:cubicBezTo>
                  <a:cubicBezTo>
                    <a:pt x="47" y="0"/>
                    <a:pt x="19" y="24"/>
                    <a:pt x="14" y="57"/>
                  </a:cubicBezTo>
                  <a:cubicBezTo>
                    <a:pt x="0" y="153"/>
                    <a:pt x="0" y="153"/>
                    <a:pt x="0" y="153"/>
                  </a:cubicBezTo>
                  <a:cubicBezTo>
                    <a:pt x="326" y="156"/>
                    <a:pt x="326" y="156"/>
                    <a:pt x="326" y="156"/>
                  </a:cubicBezTo>
                </a:path>
              </a:pathLst>
            </a:custGeom>
            <a:solidFill>
              <a:srgbClr val="FFF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4" name="Freeform 90"/>
            <p:cNvSpPr>
              <a:spLocks/>
            </p:cNvSpPr>
            <p:nvPr userDrawn="1"/>
          </p:nvSpPr>
          <p:spPr bwMode="auto">
            <a:xfrm>
              <a:off x="6850380" y="1945550"/>
              <a:ext cx="515925" cy="525263"/>
            </a:xfrm>
            <a:custGeom>
              <a:avLst/>
              <a:gdLst>
                <a:gd name="T0" fmla="*/ 230 w 235"/>
                <a:gd name="T1" fmla="*/ 128 h 242"/>
                <a:gd name="T2" fmla="*/ 128 w 235"/>
                <a:gd name="T3" fmla="*/ 5 h 242"/>
                <a:gd name="T4" fmla="*/ 6 w 235"/>
                <a:gd name="T5" fmla="*/ 107 h 242"/>
                <a:gd name="T6" fmla="*/ 0 w 235"/>
                <a:gd name="T7" fmla="*/ 238 h 242"/>
                <a:gd name="T8" fmla="*/ 61 w 235"/>
                <a:gd name="T9" fmla="*/ 212 h 242"/>
                <a:gd name="T10" fmla="*/ 73 w 235"/>
                <a:gd name="T11" fmla="*/ 190 h 242"/>
                <a:gd name="T12" fmla="*/ 157 w 235"/>
                <a:gd name="T13" fmla="*/ 162 h 242"/>
                <a:gd name="T14" fmla="*/ 167 w 235"/>
                <a:gd name="T15" fmla="*/ 185 h 242"/>
                <a:gd name="T16" fmla="*/ 222 w 235"/>
                <a:gd name="T17" fmla="*/ 242 h 242"/>
                <a:gd name="T18" fmla="*/ 230 w 235"/>
                <a:gd name="T19" fmla="*/ 12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 h="242">
                  <a:moveTo>
                    <a:pt x="230" y="128"/>
                  </a:moveTo>
                  <a:cubicBezTo>
                    <a:pt x="235" y="66"/>
                    <a:pt x="190" y="11"/>
                    <a:pt x="128" y="5"/>
                  </a:cubicBezTo>
                  <a:cubicBezTo>
                    <a:pt x="66" y="0"/>
                    <a:pt x="11" y="45"/>
                    <a:pt x="6" y="107"/>
                  </a:cubicBezTo>
                  <a:cubicBezTo>
                    <a:pt x="0" y="238"/>
                    <a:pt x="0" y="238"/>
                    <a:pt x="0" y="238"/>
                  </a:cubicBezTo>
                  <a:cubicBezTo>
                    <a:pt x="40" y="235"/>
                    <a:pt x="61" y="212"/>
                    <a:pt x="61" y="212"/>
                  </a:cubicBezTo>
                  <a:cubicBezTo>
                    <a:pt x="73" y="190"/>
                    <a:pt x="73" y="190"/>
                    <a:pt x="73" y="190"/>
                  </a:cubicBezTo>
                  <a:cubicBezTo>
                    <a:pt x="157" y="162"/>
                    <a:pt x="157" y="162"/>
                    <a:pt x="157" y="162"/>
                  </a:cubicBezTo>
                  <a:cubicBezTo>
                    <a:pt x="167" y="185"/>
                    <a:pt x="167" y="185"/>
                    <a:pt x="167" y="185"/>
                  </a:cubicBezTo>
                  <a:cubicBezTo>
                    <a:pt x="178" y="230"/>
                    <a:pt x="222" y="242"/>
                    <a:pt x="222" y="242"/>
                  </a:cubicBezTo>
                  <a:lnTo>
                    <a:pt x="230" y="128"/>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5" name="Freeform 91"/>
            <p:cNvSpPr>
              <a:spLocks/>
            </p:cNvSpPr>
            <p:nvPr userDrawn="1"/>
          </p:nvSpPr>
          <p:spPr bwMode="auto">
            <a:xfrm>
              <a:off x="6936757" y="2389106"/>
              <a:ext cx="315157" cy="296483"/>
            </a:xfrm>
            <a:custGeom>
              <a:avLst/>
              <a:gdLst>
                <a:gd name="T0" fmla="*/ 24 w 144"/>
                <a:gd name="T1" fmla="*/ 51 h 136"/>
                <a:gd name="T2" fmla="*/ 24 w 144"/>
                <a:gd name="T3" fmla="*/ 0 h 136"/>
                <a:gd name="T4" fmla="*/ 120 w 144"/>
                <a:gd name="T5" fmla="*/ 0 h 136"/>
                <a:gd name="T6" fmla="*/ 120 w 144"/>
                <a:gd name="T7" fmla="*/ 51 h 136"/>
                <a:gd name="T8" fmla="*/ 133 w 144"/>
                <a:gd name="T9" fmla="*/ 64 h 136"/>
                <a:gd name="T10" fmla="*/ 144 w 144"/>
                <a:gd name="T11" fmla="*/ 64 h 136"/>
                <a:gd name="T12" fmla="*/ 72 w 144"/>
                <a:gd name="T13" fmla="*/ 136 h 136"/>
                <a:gd name="T14" fmla="*/ 0 w 144"/>
                <a:gd name="T15" fmla="*/ 64 h 136"/>
                <a:gd name="T16" fmla="*/ 10 w 144"/>
                <a:gd name="T17" fmla="*/ 64 h 136"/>
                <a:gd name="T18" fmla="*/ 24 w 144"/>
                <a:gd name="T19" fmla="*/ 5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36">
                  <a:moveTo>
                    <a:pt x="24" y="51"/>
                  </a:moveTo>
                  <a:cubicBezTo>
                    <a:pt x="24" y="0"/>
                    <a:pt x="24" y="0"/>
                    <a:pt x="24" y="0"/>
                  </a:cubicBezTo>
                  <a:cubicBezTo>
                    <a:pt x="120" y="0"/>
                    <a:pt x="120" y="0"/>
                    <a:pt x="120" y="0"/>
                  </a:cubicBezTo>
                  <a:cubicBezTo>
                    <a:pt x="120" y="51"/>
                    <a:pt x="120" y="51"/>
                    <a:pt x="120" y="51"/>
                  </a:cubicBezTo>
                  <a:cubicBezTo>
                    <a:pt x="120" y="58"/>
                    <a:pt x="126" y="64"/>
                    <a:pt x="133" y="64"/>
                  </a:cubicBezTo>
                  <a:cubicBezTo>
                    <a:pt x="144" y="64"/>
                    <a:pt x="144" y="64"/>
                    <a:pt x="144" y="64"/>
                  </a:cubicBezTo>
                  <a:cubicBezTo>
                    <a:pt x="144" y="103"/>
                    <a:pt x="111" y="136"/>
                    <a:pt x="72" y="136"/>
                  </a:cubicBezTo>
                  <a:cubicBezTo>
                    <a:pt x="32" y="136"/>
                    <a:pt x="0" y="103"/>
                    <a:pt x="0" y="64"/>
                  </a:cubicBezTo>
                  <a:cubicBezTo>
                    <a:pt x="10" y="64"/>
                    <a:pt x="10" y="64"/>
                    <a:pt x="10" y="64"/>
                  </a:cubicBezTo>
                  <a:cubicBezTo>
                    <a:pt x="18" y="64"/>
                    <a:pt x="24" y="58"/>
                    <a:pt x="24" y="51"/>
                  </a:cubicBez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6" name="Freeform 92"/>
            <p:cNvSpPr>
              <a:spLocks/>
            </p:cNvSpPr>
            <p:nvPr userDrawn="1"/>
          </p:nvSpPr>
          <p:spPr bwMode="auto">
            <a:xfrm>
              <a:off x="6990451" y="2389106"/>
              <a:ext cx="226447" cy="144738"/>
            </a:xfrm>
            <a:custGeom>
              <a:avLst/>
              <a:gdLst>
                <a:gd name="T0" fmla="*/ 104 w 104"/>
                <a:gd name="T1" fmla="*/ 63 h 66"/>
                <a:gd name="T2" fmla="*/ 96 w 104"/>
                <a:gd name="T3" fmla="*/ 51 h 66"/>
                <a:gd name="T4" fmla="*/ 96 w 104"/>
                <a:gd name="T5" fmla="*/ 0 h 66"/>
                <a:gd name="T6" fmla="*/ 0 w 104"/>
                <a:gd name="T7" fmla="*/ 0 h 66"/>
                <a:gd name="T8" fmla="*/ 0 w 104"/>
                <a:gd name="T9" fmla="*/ 22 h 66"/>
                <a:gd name="T10" fmla="*/ 104 w 104"/>
                <a:gd name="T11" fmla="*/ 63 h 66"/>
              </a:gdLst>
              <a:ahLst/>
              <a:cxnLst>
                <a:cxn ang="0">
                  <a:pos x="T0" y="T1"/>
                </a:cxn>
                <a:cxn ang="0">
                  <a:pos x="T2" y="T3"/>
                </a:cxn>
                <a:cxn ang="0">
                  <a:pos x="T4" y="T5"/>
                </a:cxn>
                <a:cxn ang="0">
                  <a:pos x="T6" y="T7"/>
                </a:cxn>
                <a:cxn ang="0">
                  <a:pos x="T8" y="T9"/>
                </a:cxn>
                <a:cxn ang="0">
                  <a:pos x="T10" y="T11"/>
                </a:cxn>
              </a:cxnLst>
              <a:rect l="0" t="0" r="r" b="b"/>
              <a:pathLst>
                <a:path w="104" h="66">
                  <a:moveTo>
                    <a:pt x="104" y="63"/>
                  </a:moveTo>
                  <a:cubicBezTo>
                    <a:pt x="99" y="61"/>
                    <a:pt x="96" y="56"/>
                    <a:pt x="96" y="51"/>
                  </a:cubicBezTo>
                  <a:cubicBezTo>
                    <a:pt x="96" y="0"/>
                    <a:pt x="96" y="0"/>
                    <a:pt x="96" y="0"/>
                  </a:cubicBezTo>
                  <a:cubicBezTo>
                    <a:pt x="0" y="0"/>
                    <a:pt x="0" y="0"/>
                    <a:pt x="0" y="0"/>
                  </a:cubicBezTo>
                  <a:cubicBezTo>
                    <a:pt x="0" y="22"/>
                    <a:pt x="0" y="22"/>
                    <a:pt x="0" y="22"/>
                  </a:cubicBezTo>
                  <a:cubicBezTo>
                    <a:pt x="34" y="66"/>
                    <a:pt x="104" y="63"/>
                    <a:pt x="104" y="63"/>
                  </a:cubicBezTo>
                  <a:close/>
                </a:path>
              </a:pathLst>
            </a:custGeom>
            <a:solidFill>
              <a:srgbClr val="E6C3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7" name="Freeform 93"/>
            <p:cNvSpPr>
              <a:spLocks/>
            </p:cNvSpPr>
            <p:nvPr userDrawn="1"/>
          </p:nvSpPr>
          <p:spPr bwMode="auto">
            <a:xfrm>
              <a:off x="6946095" y="2087955"/>
              <a:ext cx="371187" cy="410872"/>
            </a:xfrm>
            <a:custGeom>
              <a:avLst/>
              <a:gdLst>
                <a:gd name="T0" fmla="*/ 82 w 170"/>
                <a:gd name="T1" fmla="*/ 184 h 188"/>
                <a:gd name="T2" fmla="*/ 82 w 170"/>
                <a:gd name="T3" fmla="*/ 184 h 188"/>
                <a:gd name="T4" fmla="*/ 161 w 170"/>
                <a:gd name="T5" fmla="*/ 110 h 188"/>
                <a:gd name="T6" fmla="*/ 170 w 170"/>
                <a:gd name="T7" fmla="*/ 15 h 188"/>
                <a:gd name="T8" fmla="*/ 14 w 170"/>
                <a:gd name="T9" fmla="*/ 0 h 188"/>
                <a:gd name="T10" fmla="*/ 5 w 170"/>
                <a:gd name="T11" fmla="*/ 96 h 188"/>
                <a:gd name="T12" fmla="*/ 82 w 170"/>
                <a:gd name="T13" fmla="*/ 184 h 188"/>
              </a:gdLst>
              <a:ahLst/>
              <a:cxnLst>
                <a:cxn ang="0">
                  <a:pos x="T0" y="T1"/>
                </a:cxn>
                <a:cxn ang="0">
                  <a:pos x="T2" y="T3"/>
                </a:cxn>
                <a:cxn ang="0">
                  <a:pos x="T4" y="T5"/>
                </a:cxn>
                <a:cxn ang="0">
                  <a:pos x="T6" y="T7"/>
                </a:cxn>
                <a:cxn ang="0">
                  <a:pos x="T8" y="T9"/>
                </a:cxn>
                <a:cxn ang="0">
                  <a:pos x="T10" y="T11"/>
                </a:cxn>
                <a:cxn ang="0">
                  <a:pos x="T12" y="T13"/>
                </a:cxn>
              </a:cxnLst>
              <a:rect l="0" t="0" r="r" b="b"/>
              <a:pathLst>
                <a:path w="170" h="188">
                  <a:moveTo>
                    <a:pt x="82" y="184"/>
                  </a:moveTo>
                  <a:cubicBezTo>
                    <a:pt x="82" y="184"/>
                    <a:pt x="82" y="184"/>
                    <a:pt x="82" y="184"/>
                  </a:cubicBezTo>
                  <a:cubicBezTo>
                    <a:pt x="122" y="188"/>
                    <a:pt x="158" y="150"/>
                    <a:pt x="161" y="110"/>
                  </a:cubicBezTo>
                  <a:cubicBezTo>
                    <a:pt x="170" y="15"/>
                    <a:pt x="170" y="15"/>
                    <a:pt x="170" y="15"/>
                  </a:cubicBezTo>
                  <a:cubicBezTo>
                    <a:pt x="14" y="0"/>
                    <a:pt x="14" y="0"/>
                    <a:pt x="14" y="0"/>
                  </a:cubicBezTo>
                  <a:cubicBezTo>
                    <a:pt x="5" y="96"/>
                    <a:pt x="5" y="96"/>
                    <a:pt x="5" y="96"/>
                  </a:cubicBezTo>
                  <a:cubicBezTo>
                    <a:pt x="0" y="146"/>
                    <a:pt x="42" y="180"/>
                    <a:pt x="82" y="184"/>
                  </a:cubicBez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8" name="Freeform 94"/>
            <p:cNvSpPr>
              <a:spLocks/>
            </p:cNvSpPr>
            <p:nvPr userDrawn="1"/>
          </p:nvSpPr>
          <p:spPr bwMode="auto">
            <a:xfrm>
              <a:off x="7100173" y="2195341"/>
              <a:ext cx="212440" cy="289478"/>
            </a:xfrm>
            <a:custGeom>
              <a:avLst/>
              <a:gdLst>
                <a:gd name="T0" fmla="*/ 31 w 96"/>
                <a:gd name="T1" fmla="*/ 63 h 133"/>
                <a:gd name="T2" fmla="*/ 36 w 96"/>
                <a:gd name="T3" fmla="*/ 58 h 133"/>
                <a:gd name="T4" fmla="*/ 35 w 96"/>
                <a:gd name="T5" fmla="*/ 53 h 133"/>
                <a:gd name="T6" fmla="*/ 29 w 96"/>
                <a:gd name="T7" fmla="*/ 24 h 133"/>
                <a:gd name="T8" fmla="*/ 29 w 96"/>
                <a:gd name="T9" fmla="*/ 19 h 133"/>
                <a:gd name="T10" fmla="*/ 49 w 96"/>
                <a:gd name="T11" fmla="*/ 1 h 133"/>
                <a:gd name="T12" fmla="*/ 96 w 96"/>
                <a:gd name="T13" fmla="*/ 5 h 133"/>
                <a:gd name="T14" fmla="*/ 94 w 96"/>
                <a:gd name="T15" fmla="*/ 19 h 133"/>
                <a:gd name="T16" fmla="*/ 92 w 96"/>
                <a:gd name="T17" fmla="*/ 47 h 133"/>
                <a:gd name="T18" fmla="*/ 90 w 96"/>
                <a:gd name="T19" fmla="*/ 61 h 133"/>
                <a:gd name="T20" fmla="*/ 39 w 96"/>
                <a:gd name="T21" fmla="*/ 131 h 133"/>
                <a:gd name="T22" fmla="*/ 33 w 96"/>
                <a:gd name="T23" fmla="*/ 133 h 133"/>
                <a:gd name="T24" fmla="*/ 23 w 96"/>
                <a:gd name="T25" fmla="*/ 84 h 133"/>
                <a:gd name="T26" fmla="*/ 15 w 96"/>
                <a:gd name="T27" fmla="*/ 71 h 133"/>
                <a:gd name="T28" fmla="*/ 0 w 96"/>
                <a:gd name="T29" fmla="*/ 60 h 133"/>
                <a:gd name="T30" fmla="*/ 31 w 96"/>
                <a:gd name="T31" fmla="*/ 6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133">
                  <a:moveTo>
                    <a:pt x="31" y="63"/>
                  </a:moveTo>
                  <a:cubicBezTo>
                    <a:pt x="34" y="63"/>
                    <a:pt x="37" y="61"/>
                    <a:pt x="36" y="58"/>
                  </a:cubicBezTo>
                  <a:cubicBezTo>
                    <a:pt x="36" y="56"/>
                    <a:pt x="36" y="55"/>
                    <a:pt x="35" y="53"/>
                  </a:cubicBezTo>
                  <a:cubicBezTo>
                    <a:pt x="32" y="44"/>
                    <a:pt x="29" y="34"/>
                    <a:pt x="29" y="24"/>
                  </a:cubicBezTo>
                  <a:cubicBezTo>
                    <a:pt x="29" y="19"/>
                    <a:pt x="29" y="19"/>
                    <a:pt x="29" y="19"/>
                  </a:cubicBezTo>
                  <a:cubicBezTo>
                    <a:pt x="29" y="8"/>
                    <a:pt x="38" y="0"/>
                    <a:pt x="49" y="1"/>
                  </a:cubicBezTo>
                  <a:cubicBezTo>
                    <a:pt x="96" y="5"/>
                    <a:pt x="96" y="5"/>
                    <a:pt x="96" y="5"/>
                  </a:cubicBezTo>
                  <a:cubicBezTo>
                    <a:pt x="94" y="19"/>
                    <a:pt x="94" y="19"/>
                    <a:pt x="94" y="19"/>
                  </a:cubicBezTo>
                  <a:cubicBezTo>
                    <a:pt x="92" y="47"/>
                    <a:pt x="92" y="47"/>
                    <a:pt x="92" y="47"/>
                  </a:cubicBezTo>
                  <a:cubicBezTo>
                    <a:pt x="90" y="61"/>
                    <a:pt x="90" y="61"/>
                    <a:pt x="90" y="61"/>
                  </a:cubicBezTo>
                  <a:cubicBezTo>
                    <a:pt x="88" y="91"/>
                    <a:pt x="66" y="120"/>
                    <a:pt x="39" y="131"/>
                  </a:cubicBezTo>
                  <a:cubicBezTo>
                    <a:pt x="37" y="132"/>
                    <a:pt x="35" y="132"/>
                    <a:pt x="33" y="133"/>
                  </a:cubicBezTo>
                  <a:cubicBezTo>
                    <a:pt x="23" y="84"/>
                    <a:pt x="23" y="84"/>
                    <a:pt x="23" y="84"/>
                  </a:cubicBezTo>
                  <a:cubicBezTo>
                    <a:pt x="22" y="79"/>
                    <a:pt x="19" y="74"/>
                    <a:pt x="15" y="71"/>
                  </a:cubicBezTo>
                  <a:cubicBezTo>
                    <a:pt x="0" y="60"/>
                    <a:pt x="0" y="60"/>
                    <a:pt x="0" y="60"/>
                  </a:cubicBezTo>
                  <a:lnTo>
                    <a:pt x="31" y="63"/>
                  </a:lnTo>
                  <a:close/>
                </a:path>
              </a:pathLst>
            </a:custGeom>
            <a:solidFill>
              <a:srgbClr val="E6C3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9" name="Freeform 95"/>
            <p:cNvSpPr>
              <a:spLocks/>
            </p:cNvSpPr>
            <p:nvPr userDrawn="1"/>
          </p:nvSpPr>
          <p:spPr bwMode="auto">
            <a:xfrm>
              <a:off x="7074492" y="2375098"/>
              <a:ext cx="135401" cy="63032"/>
            </a:xfrm>
            <a:custGeom>
              <a:avLst/>
              <a:gdLst>
                <a:gd name="T0" fmla="*/ 0 w 62"/>
                <a:gd name="T1" fmla="*/ 0 h 29"/>
                <a:gd name="T2" fmla="*/ 29 w 62"/>
                <a:gd name="T3" fmla="*/ 28 h 29"/>
                <a:gd name="T4" fmla="*/ 62 w 62"/>
                <a:gd name="T5" fmla="*/ 6 h 29"/>
                <a:gd name="T6" fmla="*/ 0 w 62"/>
                <a:gd name="T7" fmla="*/ 0 h 29"/>
              </a:gdLst>
              <a:ahLst/>
              <a:cxnLst>
                <a:cxn ang="0">
                  <a:pos x="T0" y="T1"/>
                </a:cxn>
                <a:cxn ang="0">
                  <a:pos x="T2" y="T3"/>
                </a:cxn>
                <a:cxn ang="0">
                  <a:pos x="T4" y="T5"/>
                </a:cxn>
                <a:cxn ang="0">
                  <a:pos x="T6" y="T7"/>
                </a:cxn>
              </a:cxnLst>
              <a:rect l="0" t="0" r="r" b="b"/>
              <a:pathLst>
                <a:path w="62" h="29">
                  <a:moveTo>
                    <a:pt x="0" y="0"/>
                  </a:moveTo>
                  <a:cubicBezTo>
                    <a:pt x="5" y="16"/>
                    <a:pt x="15" y="26"/>
                    <a:pt x="29" y="28"/>
                  </a:cubicBezTo>
                  <a:cubicBezTo>
                    <a:pt x="42" y="29"/>
                    <a:pt x="55" y="20"/>
                    <a:pt x="62" y="6"/>
                  </a:cubicBezTo>
                  <a:lnTo>
                    <a:pt x="0" y="0"/>
                  </a:lnTo>
                  <a:close/>
                </a:path>
              </a:pathLst>
            </a:custGeom>
            <a:solidFill>
              <a:srgbClr val="EE4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0" name="Freeform 96"/>
            <p:cNvSpPr>
              <a:spLocks/>
            </p:cNvSpPr>
            <p:nvPr userDrawn="1"/>
          </p:nvSpPr>
          <p:spPr bwMode="auto">
            <a:xfrm>
              <a:off x="7074492" y="2375098"/>
              <a:ext cx="135401" cy="51359"/>
            </a:xfrm>
            <a:custGeom>
              <a:avLst/>
              <a:gdLst>
                <a:gd name="T0" fmla="*/ 0 w 62"/>
                <a:gd name="T1" fmla="*/ 0 h 23"/>
                <a:gd name="T2" fmla="*/ 29 w 62"/>
                <a:gd name="T3" fmla="*/ 22 h 23"/>
                <a:gd name="T4" fmla="*/ 62 w 62"/>
                <a:gd name="T5" fmla="*/ 6 h 23"/>
                <a:gd name="T6" fmla="*/ 0 w 62"/>
                <a:gd name="T7" fmla="*/ 0 h 23"/>
              </a:gdLst>
              <a:ahLst/>
              <a:cxnLst>
                <a:cxn ang="0">
                  <a:pos x="T0" y="T1"/>
                </a:cxn>
                <a:cxn ang="0">
                  <a:pos x="T2" y="T3"/>
                </a:cxn>
                <a:cxn ang="0">
                  <a:pos x="T4" y="T5"/>
                </a:cxn>
                <a:cxn ang="0">
                  <a:pos x="T6" y="T7"/>
                </a:cxn>
              </a:cxnLst>
              <a:rect l="0" t="0" r="r" b="b"/>
              <a:pathLst>
                <a:path w="62" h="23">
                  <a:moveTo>
                    <a:pt x="0" y="0"/>
                  </a:moveTo>
                  <a:cubicBezTo>
                    <a:pt x="5" y="16"/>
                    <a:pt x="16" y="21"/>
                    <a:pt x="29" y="22"/>
                  </a:cubicBezTo>
                  <a:cubicBezTo>
                    <a:pt x="43" y="23"/>
                    <a:pt x="55" y="20"/>
                    <a:pt x="62" y="6"/>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1" name="Freeform 97"/>
            <p:cNvSpPr>
              <a:spLocks/>
            </p:cNvSpPr>
            <p:nvPr userDrawn="1"/>
          </p:nvSpPr>
          <p:spPr bwMode="auto">
            <a:xfrm>
              <a:off x="7044145" y="2230359"/>
              <a:ext cx="39687" cy="35018"/>
            </a:xfrm>
            <a:custGeom>
              <a:avLst/>
              <a:gdLst>
                <a:gd name="T0" fmla="*/ 17 w 18"/>
                <a:gd name="T1" fmla="*/ 10 h 16"/>
                <a:gd name="T2" fmla="*/ 10 w 18"/>
                <a:gd name="T3" fmla="*/ 1 h 16"/>
                <a:gd name="T4" fmla="*/ 0 w 18"/>
                <a:gd name="T5" fmla="*/ 8 h 16"/>
                <a:gd name="T6" fmla="*/ 2 w 18"/>
                <a:gd name="T7" fmla="*/ 15 h 16"/>
                <a:gd name="T8" fmla="*/ 14 w 18"/>
                <a:gd name="T9" fmla="*/ 16 h 16"/>
                <a:gd name="T10" fmla="*/ 17 w 18"/>
                <a:gd name="T11" fmla="*/ 10 h 16"/>
              </a:gdLst>
              <a:ahLst/>
              <a:cxnLst>
                <a:cxn ang="0">
                  <a:pos x="T0" y="T1"/>
                </a:cxn>
                <a:cxn ang="0">
                  <a:pos x="T2" y="T3"/>
                </a:cxn>
                <a:cxn ang="0">
                  <a:pos x="T4" y="T5"/>
                </a:cxn>
                <a:cxn ang="0">
                  <a:pos x="T6" y="T7"/>
                </a:cxn>
                <a:cxn ang="0">
                  <a:pos x="T8" y="T9"/>
                </a:cxn>
                <a:cxn ang="0">
                  <a:pos x="T10" y="T11"/>
                </a:cxn>
              </a:cxnLst>
              <a:rect l="0" t="0" r="r" b="b"/>
              <a:pathLst>
                <a:path w="18" h="16">
                  <a:moveTo>
                    <a:pt x="17" y="10"/>
                  </a:moveTo>
                  <a:cubicBezTo>
                    <a:pt x="18" y="5"/>
                    <a:pt x="14" y="1"/>
                    <a:pt x="10" y="1"/>
                  </a:cubicBezTo>
                  <a:cubicBezTo>
                    <a:pt x="5" y="0"/>
                    <a:pt x="1" y="4"/>
                    <a:pt x="0" y="8"/>
                  </a:cubicBezTo>
                  <a:cubicBezTo>
                    <a:pt x="0" y="11"/>
                    <a:pt x="1" y="13"/>
                    <a:pt x="2" y="15"/>
                  </a:cubicBezTo>
                  <a:cubicBezTo>
                    <a:pt x="14" y="16"/>
                    <a:pt x="14" y="16"/>
                    <a:pt x="14" y="16"/>
                  </a:cubicBezTo>
                  <a:cubicBezTo>
                    <a:pt x="16" y="15"/>
                    <a:pt x="17" y="13"/>
                    <a:pt x="17"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2" name="Freeform 98"/>
            <p:cNvSpPr>
              <a:spLocks/>
            </p:cNvSpPr>
            <p:nvPr userDrawn="1"/>
          </p:nvSpPr>
          <p:spPr bwMode="auto">
            <a:xfrm>
              <a:off x="7228570" y="2246700"/>
              <a:ext cx="39687" cy="35018"/>
            </a:xfrm>
            <a:custGeom>
              <a:avLst/>
              <a:gdLst>
                <a:gd name="T0" fmla="*/ 18 w 18"/>
                <a:gd name="T1" fmla="*/ 10 h 16"/>
                <a:gd name="T2" fmla="*/ 10 w 18"/>
                <a:gd name="T3" fmla="*/ 0 h 16"/>
                <a:gd name="T4" fmla="*/ 1 w 18"/>
                <a:gd name="T5" fmla="*/ 8 h 16"/>
                <a:gd name="T6" fmla="*/ 3 w 18"/>
                <a:gd name="T7" fmla="*/ 15 h 16"/>
                <a:gd name="T8" fmla="*/ 14 w 18"/>
                <a:gd name="T9" fmla="*/ 16 h 16"/>
                <a:gd name="T10" fmla="*/ 18 w 18"/>
                <a:gd name="T11" fmla="*/ 10 h 16"/>
              </a:gdLst>
              <a:ahLst/>
              <a:cxnLst>
                <a:cxn ang="0">
                  <a:pos x="T0" y="T1"/>
                </a:cxn>
                <a:cxn ang="0">
                  <a:pos x="T2" y="T3"/>
                </a:cxn>
                <a:cxn ang="0">
                  <a:pos x="T4" y="T5"/>
                </a:cxn>
                <a:cxn ang="0">
                  <a:pos x="T6" y="T7"/>
                </a:cxn>
                <a:cxn ang="0">
                  <a:pos x="T8" y="T9"/>
                </a:cxn>
                <a:cxn ang="0">
                  <a:pos x="T10" y="T11"/>
                </a:cxn>
              </a:cxnLst>
              <a:rect l="0" t="0" r="r" b="b"/>
              <a:pathLst>
                <a:path w="18" h="16">
                  <a:moveTo>
                    <a:pt x="18" y="10"/>
                  </a:moveTo>
                  <a:cubicBezTo>
                    <a:pt x="18" y="5"/>
                    <a:pt x="15" y="1"/>
                    <a:pt x="10" y="0"/>
                  </a:cubicBezTo>
                  <a:cubicBezTo>
                    <a:pt x="5" y="0"/>
                    <a:pt x="1" y="4"/>
                    <a:pt x="1" y="8"/>
                  </a:cubicBezTo>
                  <a:cubicBezTo>
                    <a:pt x="0" y="11"/>
                    <a:pt x="1" y="13"/>
                    <a:pt x="3" y="15"/>
                  </a:cubicBezTo>
                  <a:cubicBezTo>
                    <a:pt x="14" y="16"/>
                    <a:pt x="14" y="16"/>
                    <a:pt x="14" y="16"/>
                  </a:cubicBezTo>
                  <a:cubicBezTo>
                    <a:pt x="16" y="15"/>
                    <a:pt x="17" y="12"/>
                    <a:pt x="18"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3" name="Freeform 99"/>
            <p:cNvSpPr>
              <a:spLocks/>
            </p:cNvSpPr>
            <p:nvPr userDrawn="1"/>
          </p:nvSpPr>
          <p:spPr bwMode="auto">
            <a:xfrm>
              <a:off x="6878396" y="2162658"/>
              <a:ext cx="37352" cy="107387"/>
            </a:xfrm>
            <a:custGeom>
              <a:avLst/>
              <a:gdLst>
                <a:gd name="T0" fmla="*/ 17 w 17"/>
                <a:gd name="T1" fmla="*/ 0 h 49"/>
                <a:gd name="T2" fmla="*/ 1 w 17"/>
                <a:gd name="T3" fmla="*/ 23 h 49"/>
                <a:gd name="T4" fmla="*/ 13 w 17"/>
                <a:gd name="T5" fmla="*/ 49 h 49"/>
                <a:gd name="T6" fmla="*/ 17 w 17"/>
                <a:gd name="T7" fmla="*/ 0 h 49"/>
              </a:gdLst>
              <a:ahLst/>
              <a:cxnLst>
                <a:cxn ang="0">
                  <a:pos x="T0" y="T1"/>
                </a:cxn>
                <a:cxn ang="0">
                  <a:pos x="T2" y="T3"/>
                </a:cxn>
                <a:cxn ang="0">
                  <a:pos x="T4" y="T5"/>
                </a:cxn>
                <a:cxn ang="0">
                  <a:pos x="T6" y="T7"/>
                </a:cxn>
              </a:cxnLst>
              <a:rect l="0" t="0" r="r" b="b"/>
              <a:pathLst>
                <a:path w="17" h="49">
                  <a:moveTo>
                    <a:pt x="17" y="0"/>
                  </a:moveTo>
                  <a:cubicBezTo>
                    <a:pt x="8" y="4"/>
                    <a:pt x="2" y="13"/>
                    <a:pt x="1" y="23"/>
                  </a:cubicBezTo>
                  <a:cubicBezTo>
                    <a:pt x="0" y="34"/>
                    <a:pt x="5" y="43"/>
                    <a:pt x="13" y="49"/>
                  </a:cubicBezTo>
                  <a:lnTo>
                    <a:pt x="17" y="0"/>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4" name="Freeform 100"/>
            <p:cNvSpPr>
              <a:spLocks/>
            </p:cNvSpPr>
            <p:nvPr userDrawn="1"/>
          </p:nvSpPr>
          <p:spPr bwMode="auto">
            <a:xfrm>
              <a:off x="6876060" y="2242031"/>
              <a:ext cx="32683" cy="35018"/>
            </a:xfrm>
            <a:custGeom>
              <a:avLst/>
              <a:gdLst>
                <a:gd name="T0" fmla="*/ 0 w 15"/>
                <a:gd name="T1" fmla="*/ 8 h 17"/>
                <a:gd name="T2" fmla="*/ 8 w 15"/>
                <a:gd name="T3" fmla="*/ 17 h 17"/>
                <a:gd name="T4" fmla="*/ 14 w 15"/>
                <a:gd name="T5" fmla="*/ 15 h 17"/>
                <a:gd name="T6" fmla="*/ 15 w 15"/>
                <a:gd name="T7" fmla="*/ 3 h 17"/>
                <a:gd name="T8" fmla="*/ 9 w 15"/>
                <a:gd name="T9" fmla="*/ 0 h 17"/>
                <a:gd name="T10" fmla="*/ 3 w 15"/>
                <a:gd name="T11" fmla="*/ 2 h 17"/>
                <a:gd name="T12" fmla="*/ 0 w 15"/>
                <a:gd name="T13" fmla="*/ 8 h 17"/>
              </a:gdLst>
              <a:ahLst/>
              <a:cxnLst>
                <a:cxn ang="0">
                  <a:pos x="T0" y="T1"/>
                </a:cxn>
                <a:cxn ang="0">
                  <a:pos x="T2" y="T3"/>
                </a:cxn>
                <a:cxn ang="0">
                  <a:pos x="T4" y="T5"/>
                </a:cxn>
                <a:cxn ang="0">
                  <a:pos x="T6" y="T7"/>
                </a:cxn>
                <a:cxn ang="0">
                  <a:pos x="T8" y="T9"/>
                </a:cxn>
                <a:cxn ang="0">
                  <a:pos x="T10" y="T11"/>
                </a:cxn>
                <a:cxn ang="0">
                  <a:pos x="T12" y="T13"/>
                </a:cxn>
              </a:cxnLst>
              <a:rect l="0" t="0" r="r" b="b"/>
              <a:pathLst>
                <a:path w="15" h="17">
                  <a:moveTo>
                    <a:pt x="0" y="8"/>
                  </a:moveTo>
                  <a:cubicBezTo>
                    <a:pt x="0" y="12"/>
                    <a:pt x="3" y="17"/>
                    <a:pt x="8" y="17"/>
                  </a:cubicBezTo>
                  <a:cubicBezTo>
                    <a:pt x="10" y="17"/>
                    <a:pt x="12" y="17"/>
                    <a:pt x="14" y="15"/>
                  </a:cubicBezTo>
                  <a:cubicBezTo>
                    <a:pt x="15" y="3"/>
                    <a:pt x="15" y="3"/>
                    <a:pt x="15" y="3"/>
                  </a:cubicBezTo>
                  <a:cubicBezTo>
                    <a:pt x="13" y="1"/>
                    <a:pt x="12" y="0"/>
                    <a:pt x="9" y="0"/>
                  </a:cubicBezTo>
                  <a:cubicBezTo>
                    <a:pt x="7" y="0"/>
                    <a:pt x="5" y="0"/>
                    <a:pt x="3" y="2"/>
                  </a:cubicBezTo>
                  <a:cubicBezTo>
                    <a:pt x="2" y="3"/>
                    <a:pt x="0" y="5"/>
                    <a:pt x="0" y="8"/>
                  </a:cubicBezTo>
                  <a:close/>
                </a:path>
              </a:pathLst>
            </a:custGeom>
            <a:solidFill>
              <a:srgbClr val="EE4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5" name="Freeform 101"/>
            <p:cNvSpPr>
              <a:spLocks/>
            </p:cNvSpPr>
            <p:nvPr userDrawn="1"/>
          </p:nvSpPr>
          <p:spPr bwMode="auto">
            <a:xfrm>
              <a:off x="6955435" y="2071613"/>
              <a:ext cx="366518" cy="135401"/>
            </a:xfrm>
            <a:custGeom>
              <a:avLst/>
              <a:gdLst>
                <a:gd name="T0" fmla="*/ 1 w 157"/>
                <a:gd name="T1" fmla="*/ 48 h 58"/>
                <a:gd name="T2" fmla="*/ 91 w 157"/>
                <a:gd name="T3" fmla="*/ 54 h 58"/>
                <a:gd name="T4" fmla="*/ 111 w 157"/>
                <a:gd name="T5" fmla="*/ 35 h 58"/>
                <a:gd name="T6" fmla="*/ 110 w 157"/>
                <a:gd name="T7" fmla="*/ 55 h 58"/>
                <a:gd name="T8" fmla="*/ 157 w 157"/>
                <a:gd name="T9" fmla="*/ 58 h 58"/>
                <a:gd name="T10" fmla="*/ 155 w 157"/>
                <a:gd name="T11" fmla="*/ 13 h 58"/>
                <a:gd name="T12" fmla="*/ 0 w 157"/>
                <a:gd name="T13" fmla="*/ 0 h 58"/>
                <a:gd name="T14" fmla="*/ 1 w 157"/>
                <a:gd name="T15" fmla="*/ 4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58">
                  <a:moveTo>
                    <a:pt x="1" y="48"/>
                  </a:moveTo>
                  <a:lnTo>
                    <a:pt x="91" y="54"/>
                  </a:lnTo>
                  <a:lnTo>
                    <a:pt x="111" y="35"/>
                  </a:lnTo>
                  <a:lnTo>
                    <a:pt x="110" y="55"/>
                  </a:lnTo>
                  <a:lnTo>
                    <a:pt x="157" y="58"/>
                  </a:lnTo>
                  <a:lnTo>
                    <a:pt x="155" y="13"/>
                  </a:lnTo>
                  <a:lnTo>
                    <a:pt x="0" y="0"/>
                  </a:lnTo>
                  <a:lnTo>
                    <a:pt x="1" y="48"/>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6" name="Freeform 102"/>
            <p:cNvSpPr>
              <a:spLocks/>
            </p:cNvSpPr>
            <p:nvPr userDrawn="1"/>
          </p:nvSpPr>
          <p:spPr bwMode="auto">
            <a:xfrm>
              <a:off x="7424667" y="265290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582C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7" name="Freeform 103"/>
            <p:cNvSpPr>
              <a:spLocks/>
            </p:cNvSpPr>
            <p:nvPr userDrawn="1"/>
          </p:nvSpPr>
          <p:spPr bwMode="auto">
            <a:xfrm>
              <a:off x="7455016" y="2916701"/>
              <a:ext cx="7004" cy="86377"/>
            </a:xfrm>
            <a:custGeom>
              <a:avLst/>
              <a:gdLst>
                <a:gd name="T0" fmla="*/ 0 w 4"/>
                <a:gd name="T1" fmla="*/ 0 h 40"/>
                <a:gd name="T2" fmla="*/ 4 w 4"/>
                <a:gd name="T3" fmla="*/ 34 h 40"/>
                <a:gd name="T4" fmla="*/ 4 w 4"/>
                <a:gd name="T5" fmla="*/ 40 h 40"/>
                <a:gd name="T6" fmla="*/ 4 w 4"/>
                <a:gd name="T7" fmla="*/ 34 h 40"/>
                <a:gd name="T8" fmla="*/ 0 w 4"/>
                <a:gd name="T9" fmla="*/ 0 h 40"/>
              </a:gdLst>
              <a:ahLst/>
              <a:cxnLst>
                <a:cxn ang="0">
                  <a:pos x="T0" y="T1"/>
                </a:cxn>
                <a:cxn ang="0">
                  <a:pos x="T2" y="T3"/>
                </a:cxn>
                <a:cxn ang="0">
                  <a:pos x="T4" y="T5"/>
                </a:cxn>
                <a:cxn ang="0">
                  <a:pos x="T6" y="T7"/>
                </a:cxn>
                <a:cxn ang="0">
                  <a:pos x="T8" y="T9"/>
                </a:cxn>
              </a:cxnLst>
              <a:rect l="0" t="0" r="r" b="b"/>
              <a:pathLst>
                <a:path w="4" h="40">
                  <a:moveTo>
                    <a:pt x="0" y="0"/>
                  </a:moveTo>
                  <a:cubicBezTo>
                    <a:pt x="4" y="34"/>
                    <a:pt x="4" y="34"/>
                    <a:pt x="4" y="34"/>
                  </a:cubicBezTo>
                  <a:cubicBezTo>
                    <a:pt x="4" y="36"/>
                    <a:pt x="4" y="38"/>
                    <a:pt x="4" y="40"/>
                  </a:cubicBezTo>
                  <a:cubicBezTo>
                    <a:pt x="4" y="38"/>
                    <a:pt x="4" y="36"/>
                    <a:pt x="4" y="34"/>
                  </a:cubicBezTo>
                  <a:cubicBezTo>
                    <a:pt x="0" y="0"/>
                    <a:pt x="0" y="0"/>
                    <a:pt x="0" y="0"/>
                  </a:cubicBezTo>
                </a:path>
              </a:pathLst>
            </a:custGeom>
            <a:solidFill>
              <a:srgbClr val="582C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8" name="Freeform 104"/>
            <p:cNvSpPr>
              <a:spLocks/>
            </p:cNvSpPr>
            <p:nvPr userDrawn="1"/>
          </p:nvSpPr>
          <p:spPr bwMode="auto">
            <a:xfrm>
              <a:off x="7377977" y="2750952"/>
              <a:ext cx="84042" cy="408538"/>
            </a:xfrm>
            <a:custGeom>
              <a:avLst/>
              <a:gdLst>
                <a:gd name="T0" fmla="*/ 26 w 39"/>
                <a:gd name="T1" fmla="*/ 0 h 187"/>
                <a:gd name="T2" fmla="*/ 32 w 39"/>
                <a:gd name="T3" fmla="*/ 51 h 187"/>
                <a:gd name="T4" fmla="*/ 32 w 39"/>
                <a:gd name="T5" fmla="*/ 54 h 187"/>
                <a:gd name="T6" fmla="*/ 14 w 39"/>
                <a:gd name="T7" fmla="*/ 54 h 187"/>
                <a:gd name="T8" fmla="*/ 20 w 39"/>
                <a:gd name="T9" fmla="*/ 112 h 187"/>
                <a:gd name="T10" fmla="*/ 18 w 39"/>
                <a:gd name="T11" fmla="*/ 124 h 187"/>
                <a:gd name="T12" fmla="*/ 0 w 39"/>
                <a:gd name="T13" fmla="*/ 187 h 187"/>
                <a:gd name="T14" fmla="*/ 24 w 39"/>
                <a:gd name="T15" fmla="*/ 172 h 187"/>
                <a:gd name="T16" fmla="*/ 37 w 39"/>
                <a:gd name="T17" fmla="*/ 132 h 187"/>
                <a:gd name="T18" fmla="*/ 39 w 39"/>
                <a:gd name="T19" fmla="*/ 116 h 187"/>
                <a:gd name="T20" fmla="*/ 39 w 39"/>
                <a:gd name="T21" fmla="*/ 110 h 187"/>
                <a:gd name="T22" fmla="*/ 35 w 39"/>
                <a:gd name="T23" fmla="*/ 76 h 187"/>
                <a:gd name="T24" fmla="*/ 26 w 39"/>
                <a:gd name="T25"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187">
                  <a:moveTo>
                    <a:pt x="26" y="0"/>
                  </a:moveTo>
                  <a:cubicBezTo>
                    <a:pt x="32" y="51"/>
                    <a:pt x="32" y="51"/>
                    <a:pt x="32" y="51"/>
                  </a:cubicBezTo>
                  <a:cubicBezTo>
                    <a:pt x="32" y="54"/>
                    <a:pt x="32" y="54"/>
                    <a:pt x="32" y="54"/>
                  </a:cubicBezTo>
                  <a:cubicBezTo>
                    <a:pt x="14" y="54"/>
                    <a:pt x="14" y="54"/>
                    <a:pt x="14" y="54"/>
                  </a:cubicBezTo>
                  <a:cubicBezTo>
                    <a:pt x="20" y="112"/>
                    <a:pt x="20" y="112"/>
                    <a:pt x="20" y="112"/>
                  </a:cubicBezTo>
                  <a:cubicBezTo>
                    <a:pt x="20" y="116"/>
                    <a:pt x="20" y="120"/>
                    <a:pt x="18" y="124"/>
                  </a:cubicBezTo>
                  <a:cubicBezTo>
                    <a:pt x="0" y="187"/>
                    <a:pt x="0" y="187"/>
                    <a:pt x="0" y="187"/>
                  </a:cubicBezTo>
                  <a:cubicBezTo>
                    <a:pt x="24" y="172"/>
                    <a:pt x="24" y="172"/>
                    <a:pt x="24" y="172"/>
                  </a:cubicBezTo>
                  <a:cubicBezTo>
                    <a:pt x="37" y="132"/>
                    <a:pt x="37" y="132"/>
                    <a:pt x="37" y="132"/>
                  </a:cubicBezTo>
                  <a:cubicBezTo>
                    <a:pt x="38" y="126"/>
                    <a:pt x="39" y="121"/>
                    <a:pt x="39" y="116"/>
                  </a:cubicBezTo>
                  <a:cubicBezTo>
                    <a:pt x="39" y="114"/>
                    <a:pt x="39" y="112"/>
                    <a:pt x="39" y="110"/>
                  </a:cubicBezTo>
                  <a:cubicBezTo>
                    <a:pt x="35" y="76"/>
                    <a:pt x="35" y="76"/>
                    <a:pt x="35" y="76"/>
                  </a:cubicBezTo>
                  <a:cubicBezTo>
                    <a:pt x="26" y="0"/>
                    <a:pt x="26" y="0"/>
                    <a:pt x="26" y="0"/>
                  </a:cubicBezTo>
                </a:path>
              </a:pathLst>
            </a:custGeom>
            <a:solidFill>
              <a:srgbClr val="E6C9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09" name="Freeform 105"/>
            <p:cNvSpPr>
              <a:spLocks/>
            </p:cNvSpPr>
            <p:nvPr userDrawn="1"/>
          </p:nvSpPr>
          <p:spPr bwMode="auto">
            <a:xfrm>
              <a:off x="7434005" y="2750952"/>
              <a:ext cx="14007" cy="112056"/>
            </a:xfrm>
            <a:custGeom>
              <a:avLst/>
              <a:gdLst>
                <a:gd name="T0" fmla="*/ 0 w 6"/>
                <a:gd name="T1" fmla="*/ 0 h 48"/>
                <a:gd name="T2" fmla="*/ 6 w 6"/>
                <a:gd name="T3" fmla="*/ 48 h 48"/>
                <a:gd name="T4" fmla="*/ 6 w 6"/>
                <a:gd name="T5" fmla="*/ 48 h 48"/>
                <a:gd name="T6" fmla="*/ 0 w 6"/>
                <a:gd name="T7" fmla="*/ 0 h 48"/>
                <a:gd name="T8" fmla="*/ 0 w 6"/>
                <a:gd name="T9" fmla="*/ 0 h 48"/>
              </a:gdLst>
              <a:ahLst/>
              <a:cxnLst>
                <a:cxn ang="0">
                  <a:pos x="T0" y="T1"/>
                </a:cxn>
                <a:cxn ang="0">
                  <a:pos x="T2" y="T3"/>
                </a:cxn>
                <a:cxn ang="0">
                  <a:pos x="T4" y="T5"/>
                </a:cxn>
                <a:cxn ang="0">
                  <a:pos x="T6" y="T7"/>
                </a:cxn>
                <a:cxn ang="0">
                  <a:pos x="T8" y="T9"/>
                </a:cxn>
              </a:cxnLst>
              <a:rect l="0" t="0" r="r" b="b"/>
              <a:pathLst>
                <a:path w="6" h="48">
                  <a:moveTo>
                    <a:pt x="0" y="0"/>
                  </a:moveTo>
                  <a:lnTo>
                    <a:pt x="6" y="48"/>
                  </a:lnTo>
                  <a:lnTo>
                    <a:pt x="6" y="48"/>
                  </a:lnTo>
                  <a:lnTo>
                    <a:pt x="0" y="0"/>
                  </a:lnTo>
                  <a:lnTo>
                    <a:pt x="0" y="0"/>
                  </a:lnTo>
                  <a:close/>
                </a:path>
              </a:pathLst>
            </a:custGeom>
            <a:solidFill>
              <a:srgbClr val="E6C9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0" name="Freeform 106"/>
            <p:cNvSpPr>
              <a:spLocks/>
            </p:cNvSpPr>
            <p:nvPr userDrawn="1"/>
          </p:nvSpPr>
          <p:spPr bwMode="auto">
            <a:xfrm>
              <a:off x="7434005" y="2750952"/>
              <a:ext cx="14007" cy="112056"/>
            </a:xfrm>
            <a:custGeom>
              <a:avLst/>
              <a:gdLst>
                <a:gd name="T0" fmla="*/ 0 w 6"/>
                <a:gd name="T1" fmla="*/ 0 h 48"/>
                <a:gd name="T2" fmla="*/ 6 w 6"/>
                <a:gd name="T3" fmla="*/ 48 h 48"/>
                <a:gd name="T4" fmla="*/ 6 w 6"/>
                <a:gd name="T5" fmla="*/ 48 h 48"/>
                <a:gd name="T6" fmla="*/ 0 w 6"/>
                <a:gd name="T7" fmla="*/ 0 h 48"/>
                <a:gd name="T8" fmla="*/ 0 w 6"/>
                <a:gd name="T9" fmla="*/ 0 h 48"/>
              </a:gdLst>
              <a:ahLst/>
              <a:cxnLst>
                <a:cxn ang="0">
                  <a:pos x="T0" y="T1"/>
                </a:cxn>
                <a:cxn ang="0">
                  <a:pos x="T2" y="T3"/>
                </a:cxn>
                <a:cxn ang="0">
                  <a:pos x="T4" y="T5"/>
                </a:cxn>
                <a:cxn ang="0">
                  <a:pos x="T6" y="T7"/>
                </a:cxn>
                <a:cxn ang="0">
                  <a:pos x="T8" y="T9"/>
                </a:cxn>
              </a:cxnLst>
              <a:rect l="0" t="0" r="r" b="b"/>
              <a:pathLst>
                <a:path w="6" h="48">
                  <a:moveTo>
                    <a:pt x="0" y="0"/>
                  </a:moveTo>
                  <a:lnTo>
                    <a:pt x="6" y="48"/>
                  </a:lnTo>
                  <a:lnTo>
                    <a:pt x="6" y="48"/>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1" name="Freeform 107"/>
            <p:cNvSpPr>
              <a:spLocks/>
            </p:cNvSpPr>
            <p:nvPr userDrawn="1"/>
          </p:nvSpPr>
          <p:spPr bwMode="auto">
            <a:xfrm>
              <a:off x="7380312" y="2568860"/>
              <a:ext cx="67701" cy="298816"/>
            </a:xfrm>
            <a:custGeom>
              <a:avLst/>
              <a:gdLst>
                <a:gd name="T0" fmla="*/ 0 w 31"/>
                <a:gd name="T1" fmla="*/ 0 h 138"/>
                <a:gd name="T2" fmla="*/ 13 w 31"/>
                <a:gd name="T3" fmla="*/ 138 h 138"/>
                <a:gd name="T4" fmla="*/ 31 w 31"/>
                <a:gd name="T5" fmla="*/ 138 h 138"/>
                <a:gd name="T6" fmla="*/ 31 w 31"/>
                <a:gd name="T7" fmla="*/ 135 h 138"/>
                <a:gd name="T8" fmla="*/ 25 w 31"/>
                <a:gd name="T9" fmla="*/ 84 h 138"/>
                <a:gd name="T10" fmla="*/ 25 w 31"/>
                <a:gd name="T11" fmla="*/ 84 h 138"/>
                <a:gd name="T12" fmla="*/ 21 w 31"/>
                <a:gd name="T13" fmla="*/ 39 h 138"/>
                <a:gd name="T14" fmla="*/ 21 w 31"/>
                <a:gd name="T15" fmla="*/ 39 h 138"/>
                <a:gd name="T16" fmla="*/ 0 w 31"/>
                <a:gd name="T1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38">
                  <a:moveTo>
                    <a:pt x="0" y="0"/>
                  </a:moveTo>
                  <a:cubicBezTo>
                    <a:pt x="13" y="138"/>
                    <a:pt x="13" y="138"/>
                    <a:pt x="13" y="138"/>
                  </a:cubicBezTo>
                  <a:cubicBezTo>
                    <a:pt x="31" y="138"/>
                    <a:pt x="31" y="138"/>
                    <a:pt x="31" y="138"/>
                  </a:cubicBezTo>
                  <a:cubicBezTo>
                    <a:pt x="31" y="135"/>
                    <a:pt x="31" y="135"/>
                    <a:pt x="31" y="135"/>
                  </a:cubicBezTo>
                  <a:cubicBezTo>
                    <a:pt x="25" y="84"/>
                    <a:pt x="25" y="84"/>
                    <a:pt x="25" y="84"/>
                  </a:cubicBezTo>
                  <a:cubicBezTo>
                    <a:pt x="25" y="84"/>
                    <a:pt x="25" y="84"/>
                    <a:pt x="25" y="84"/>
                  </a:cubicBezTo>
                  <a:cubicBezTo>
                    <a:pt x="21" y="39"/>
                    <a:pt x="21" y="39"/>
                    <a:pt x="21" y="39"/>
                  </a:cubicBezTo>
                  <a:cubicBezTo>
                    <a:pt x="21" y="39"/>
                    <a:pt x="21" y="39"/>
                    <a:pt x="21" y="39"/>
                  </a:cubicBezTo>
                  <a:cubicBezTo>
                    <a:pt x="18" y="23"/>
                    <a:pt x="11" y="10"/>
                    <a:pt x="0" y="0"/>
                  </a:cubicBezTo>
                </a:path>
              </a:pathLst>
            </a:custGeom>
            <a:solidFill>
              <a:srgbClr val="EEE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2" name="Freeform 108"/>
            <p:cNvSpPr>
              <a:spLocks/>
            </p:cNvSpPr>
            <p:nvPr userDrawn="1"/>
          </p:nvSpPr>
          <p:spPr bwMode="auto">
            <a:xfrm>
              <a:off x="6761669" y="4114298"/>
              <a:ext cx="674671" cy="289478"/>
            </a:xfrm>
            <a:custGeom>
              <a:avLst/>
              <a:gdLst>
                <a:gd name="T0" fmla="*/ 308 w 308"/>
                <a:gd name="T1" fmla="*/ 132 h 132"/>
                <a:gd name="T2" fmla="*/ 297 w 308"/>
                <a:gd name="T3" fmla="*/ 54 h 132"/>
                <a:gd name="T4" fmla="*/ 234 w 308"/>
                <a:gd name="T5" fmla="*/ 0 h 132"/>
                <a:gd name="T6" fmla="*/ 73 w 308"/>
                <a:gd name="T7" fmla="*/ 0 h 132"/>
                <a:gd name="T8" fmla="*/ 11 w 308"/>
                <a:gd name="T9" fmla="*/ 54 h 132"/>
                <a:gd name="T10" fmla="*/ 0 w 308"/>
                <a:gd name="T11" fmla="*/ 132 h 132"/>
                <a:gd name="T12" fmla="*/ 308 w 308"/>
                <a:gd name="T13" fmla="*/ 132 h 132"/>
              </a:gdLst>
              <a:ahLst/>
              <a:cxnLst>
                <a:cxn ang="0">
                  <a:pos x="T0" y="T1"/>
                </a:cxn>
                <a:cxn ang="0">
                  <a:pos x="T2" y="T3"/>
                </a:cxn>
                <a:cxn ang="0">
                  <a:pos x="T4" y="T5"/>
                </a:cxn>
                <a:cxn ang="0">
                  <a:pos x="T6" y="T7"/>
                </a:cxn>
                <a:cxn ang="0">
                  <a:pos x="T8" y="T9"/>
                </a:cxn>
                <a:cxn ang="0">
                  <a:pos x="T10" y="T11"/>
                </a:cxn>
                <a:cxn ang="0">
                  <a:pos x="T12" y="T13"/>
                </a:cxn>
              </a:cxnLst>
              <a:rect l="0" t="0" r="r" b="b"/>
              <a:pathLst>
                <a:path w="308" h="132">
                  <a:moveTo>
                    <a:pt x="308" y="132"/>
                  </a:moveTo>
                  <a:cubicBezTo>
                    <a:pt x="297" y="54"/>
                    <a:pt x="297" y="54"/>
                    <a:pt x="297" y="54"/>
                  </a:cubicBezTo>
                  <a:cubicBezTo>
                    <a:pt x="292" y="23"/>
                    <a:pt x="266" y="0"/>
                    <a:pt x="234" y="0"/>
                  </a:cubicBezTo>
                  <a:cubicBezTo>
                    <a:pt x="73" y="0"/>
                    <a:pt x="73" y="0"/>
                    <a:pt x="73" y="0"/>
                  </a:cubicBezTo>
                  <a:cubicBezTo>
                    <a:pt x="42" y="0"/>
                    <a:pt x="16" y="23"/>
                    <a:pt x="11" y="54"/>
                  </a:cubicBezTo>
                  <a:cubicBezTo>
                    <a:pt x="0" y="132"/>
                    <a:pt x="0" y="132"/>
                    <a:pt x="0" y="132"/>
                  </a:cubicBezTo>
                  <a:cubicBezTo>
                    <a:pt x="308" y="132"/>
                    <a:pt x="308" y="132"/>
                    <a:pt x="308" y="132"/>
                  </a:cubicBezTo>
                </a:path>
              </a:pathLst>
            </a:custGeom>
            <a:solidFill>
              <a:srgbClr val="7A4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3" name="Freeform 109"/>
            <p:cNvSpPr>
              <a:spLocks/>
            </p:cNvSpPr>
            <p:nvPr userDrawn="1"/>
          </p:nvSpPr>
          <p:spPr bwMode="auto">
            <a:xfrm>
              <a:off x="6735991" y="4104960"/>
              <a:ext cx="733032" cy="429548"/>
            </a:xfrm>
            <a:custGeom>
              <a:avLst/>
              <a:gdLst>
                <a:gd name="T0" fmla="*/ 335 w 335"/>
                <a:gd name="T1" fmla="*/ 197 h 197"/>
                <a:gd name="T2" fmla="*/ 319 w 335"/>
                <a:gd name="T3" fmla="*/ 58 h 197"/>
                <a:gd name="T4" fmla="*/ 252 w 335"/>
                <a:gd name="T5" fmla="*/ 0 h 197"/>
                <a:gd name="T6" fmla="*/ 80 w 335"/>
                <a:gd name="T7" fmla="*/ 0 h 197"/>
                <a:gd name="T8" fmla="*/ 13 w 335"/>
                <a:gd name="T9" fmla="*/ 58 h 197"/>
                <a:gd name="T10" fmla="*/ 0 w 335"/>
                <a:gd name="T11" fmla="*/ 197 h 197"/>
                <a:gd name="T12" fmla="*/ 335 w 335"/>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335" h="197">
                  <a:moveTo>
                    <a:pt x="335" y="197"/>
                  </a:moveTo>
                  <a:cubicBezTo>
                    <a:pt x="319" y="58"/>
                    <a:pt x="319" y="58"/>
                    <a:pt x="319" y="58"/>
                  </a:cubicBezTo>
                  <a:cubicBezTo>
                    <a:pt x="314" y="24"/>
                    <a:pt x="286" y="0"/>
                    <a:pt x="252" y="0"/>
                  </a:cubicBezTo>
                  <a:cubicBezTo>
                    <a:pt x="80" y="0"/>
                    <a:pt x="80" y="0"/>
                    <a:pt x="80" y="0"/>
                  </a:cubicBezTo>
                  <a:cubicBezTo>
                    <a:pt x="46" y="0"/>
                    <a:pt x="18" y="24"/>
                    <a:pt x="13" y="58"/>
                  </a:cubicBezTo>
                  <a:cubicBezTo>
                    <a:pt x="0" y="197"/>
                    <a:pt x="0" y="197"/>
                    <a:pt x="0" y="197"/>
                  </a:cubicBezTo>
                  <a:cubicBezTo>
                    <a:pt x="335" y="197"/>
                    <a:pt x="335" y="197"/>
                    <a:pt x="335" y="19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4" name="Freeform 110"/>
            <p:cNvSpPr>
              <a:spLocks/>
            </p:cNvSpPr>
            <p:nvPr userDrawn="1"/>
          </p:nvSpPr>
          <p:spPr bwMode="auto">
            <a:xfrm>
              <a:off x="6976444" y="4002242"/>
              <a:ext cx="245123" cy="231115"/>
            </a:xfrm>
            <a:custGeom>
              <a:avLst/>
              <a:gdLst>
                <a:gd name="T0" fmla="*/ 112 w 112"/>
                <a:gd name="T1" fmla="*/ 0 h 106"/>
                <a:gd name="T2" fmla="*/ 0 w 112"/>
                <a:gd name="T3" fmla="*/ 0 h 106"/>
                <a:gd name="T4" fmla="*/ 0 w 112"/>
                <a:gd name="T5" fmla="*/ 51 h 106"/>
                <a:gd name="T6" fmla="*/ 55 w 112"/>
                <a:gd name="T7" fmla="*/ 106 h 106"/>
                <a:gd name="T8" fmla="*/ 56 w 112"/>
                <a:gd name="T9" fmla="*/ 106 h 106"/>
                <a:gd name="T10" fmla="*/ 112 w 112"/>
                <a:gd name="T11" fmla="*/ 51 h 106"/>
                <a:gd name="T12" fmla="*/ 112 w 112"/>
                <a:gd name="T13" fmla="*/ 0 h 106"/>
              </a:gdLst>
              <a:ahLst/>
              <a:cxnLst>
                <a:cxn ang="0">
                  <a:pos x="T0" y="T1"/>
                </a:cxn>
                <a:cxn ang="0">
                  <a:pos x="T2" y="T3"/>
                </a:cxn>
                <a:cxn ang="0">
                  <a:pos x="T4" y="T5"/>
                </a:cxn>
                <a:cxn ang="0">
                  <a:pos x="T6" y="T7"/>
                </a:cxn>
                <a:cxn ang="0">
                  <a:pos x="T8" y="T9"/>
                </a:cxn>
                <a:cxn ang="0">
                  <a:pos x="T10" y="T11"/>
                </a:cxn>
                <a:cxn ang="0">
                  <a:pos x="T12" y="T13"/>
                </a:cxn>
              </a:cxnLst>
              <a:rect l="0" t="0" r="r" b="b"/>
              <a:pathLst>
                <a:path w="112" h="106">
                  <a:moveTo>
                    <a:pt x="112" y="0"/>
                  </a:moveTo>
                  <a:cubicBezTo>
                    <a:pt x="0" y="0"/>
                    <a:pt x="0" y="0"/>
                    <a:pt x="0" y="0"/>
                  </a:cubicBezTo>
                  <a:cubicBezTo>
                    <a:pt x="0" y="51"/>
                    <a:pt x="0" y="51"/>
                    <a:pt x="0" y="51"/>
                  </a:cubicBezTo>
                  <a:cubicBezTo>
                    <a:pt x="0" y="81"/>
                    <a:pt x="25" y="106"/>
                    <a:pt x="55" y="106"/>
                  </a:cubicBezTo>
                  <a:cubicBezTo>
                    <a:pt x="56" y="106"/>
                    <a:pt x="56" y="106"/>
                    <a:pt x="56" y="106"/>
                  </a:cubicBezTo>
                  <a:cubicBezTo>
                    <a:pt x="87" y="106"/>
                    <a:pt x="112" y="81"/>
                    <a:pt x="112" y="51"/>
                  </a:cubicBezTo>
                  <a:lnTo>
                    <a:pt x="112" y="0"/>
                  </a:ln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5" name="Freeform 111"/>
            <p:cNvSpPr>
              <a:spLocks/>
            </p:cNvSpPr>
            <p:nvPr userDrawn="1"/>
          </p:nvSpPr>
          <p:spPr bwMode="auto">
            <a:xfrm>
              <a:off x="7097837" y="4072277"/>
              <a:ext cx="123729" cy="130732"/>
            </a:xfrm>
            <a:custGeom>
              <a:avLst/>
              <a:gdLst>
                <a:gd name="T0" fmla="*/ 27 w 56"/>
                <a:gd name="T1" fmla="*/ 14 h 60"/>
                <a:gd name="T2" fmla="*/ 14 w 56"/>
                <a:gd name="T3" fmla="*/ 18 h 60"/>
                <a:gd name="T4" fmla="*/ 0 w 56"/>
                <a:gd name="T5" fmla="*/ 15 h 60"/>
                <a:gd name="T6" fmla="*/ 0 w 56"/>
                <a:gd name="T7" fmla="*/ 22 h 60"/>
                <a:gd name="T8" fmla="*/ 38 w 56"/>
                <a:gd name="T9" fmla="*/ 60 h 60"/>
                <a:gd name="T10" fmla="*/ 56 w 56"/>
                <a:gd name="T11" fmla="*/ 19 h 60"/>
                <a:gd name="T12" fmla="*/ 56 w 56"/>
                <a:gd name="T13" fmla="*/ 0 h 60"/>
                <a:gd name="T14" fmla="*/ 56 w 56"/>
                <a:gd name="T15" fmla="*/ 0 h 60"/>
                <a:gd name="T16" fmla="*/ 27 w 56"/>
                <a:gd name="T17" fmla="*/ 1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60">
                  <a:moveTo>
                    <a:pt x="27" y="14"/>
                  </a:moveTo>
                  <a:cubicBezTo>
                    <a:pt x="14" y="18"/>
                    <a:pt x="14" y="18"/>
                    <a:pt x="14" y="18"/>
                  </a:cubicBezTo>
                  <a:cubicBezTo>
                    <a:pt x="5" y="21"/>
                    <a:pt x="0" y="15"/>
                    <a:pt x="0" y="15"/>
                  </a:cubicBezTo>
                  <a:cubicBezTo>
                    <a:pt x="0" y="22"/>
                    <a:pt x="0" y="22"/>
                    <a:pt x="0" y="22"/>
                  </a:cubicBezTo>
                  <a:cubicBezTo>
                    <a:pt x="6" y="42"/>
                    <a:pt x="24" y="53"/>
                    <a:pt x="38" y="60"/>
                  </a:cubicBezTo>
                  <a:cubicBezTo>
                    <a:pt x="49" y="50"/>
                    <a:pt x="56" y="35"/>
                    <a:pt x="56" y="19"/>
                  </a:cubicBezTo>
                  <a:cubicBezTo>
                    <a:pt x="56" y="0"/>
                    <a:pt x="56" y="0"/>
                    <a:pt x="56" y="0"/>
                  </a:cubicBezTo>
                  <a:cubicBezTo>
                    <a:pt x="56" y="0"/>
                    <a:pt x="56" y="0"/>
                    <a:pt x="56" y="0"/>
                  </a:cubicBezTo>
                  <a:cubicBezTo>
                    <a:pt x="47" y="6"/>
                    <a:pt x="38" y="11"/>
                    <a:pt x="27" y="14"/>
                  </a:cubicBezTo>
                  <a:close/>
                </a:path>
              </a:pathLst>
            </a:custGeom>
            <a:solidFill>
              <a:srgbClr val="915E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6" name="Freeform 112"/>
            <p:cNvSpPr>
              <a:spLocks/>
            </p:cNvSpPr>
            <p:nvPr userDrawn="1"/>
          </p:nvSpPr>
          <p:spPr bwMode="auto">
            <a:xfrm>
              <a:off x="6848046" y="3493322"/>
              <a:ext cx="466900" cy="380524"/>
            </a:xfrm>
            <a:custGeom>
              <a:avLst/>
              <a:gdLst>
                <a:gd name="T0" fmla="*/ 101 w 214"/>
                <a:gd name="T1" fmla="*/ 4 h 174"/>
                <a:gd name="T2" fmla="*/ 99 w 214"/>
                <a:gd name="T3" fmla="*/ 4 h 174"/>
                <a:gd name="T4" fmla="*/ 4 w 214"/>
                <a:gd name="T5" fmla="*/ 113 h 174"/>
                <a:gd name="T6" fmla="*/ 8 w 214"/>
                <a:gd name="T7" fmla="*/ 174 h 174"/>
                <a:gd name="T8" fmla="*/ 214 w 214"/>
                <a:gd name="T9" fmla="*/ 160 h 174"/>
                <a:gd name="T10" fmla="*/ 210 w 214"/>
                <a:gd name="T11" fmla="*/ 99 h 174"/>
                <a:gd name="T12" fmla="*/ 101 w 214"/>
                <a:gd name="T13" fmla="*/ 4 h 174"/>
              </a:gdLst>
              <a:ahLst/>
              <a:cxnLst>
                <a:cxn ang="0">
                  <a:pos x="T0" y="T1"/>
                </a:cxn>
                <a:cxn ang="0">
                  <a:pos x="T2" y="T3"/>
                </a:cxn>
                <a:cxn ang="0">
                  <a:pos x="T4" y="T5"/>
                </a:cxn>
                <a:cxn ang="0">
                  <a:pos x="T6" y="T7"/>
                </a:cxn>
                <a:cxn ang="0">
                  <a:pos x="T8" y="T9"/>
                </a:cxn>
                <a:cxn ang="0">
                  <a:pos x="T10" y="T11"/>
                </a:cxn>
                <a:cxn ang="0">
                  <a:pos x="T12" y="T13"/>
                </a:cxn>
              </a:cxnLst>
              <a:rect l="0" t="0" r="r" b="b"/>
              <a:pathLst>
                <a:path w="214" h="174">
                  <a:moveTo>
                    <a:pt x="101" y="4"/>
                  </a:moveTo>
                  <a:cubicBezTo>
                    <a:pt x="99" y="4"/>
                    <a:pt x="99" y="4"/>
                    <a:pt x="99" y="4"/>
                  </a:cubicBezTo>
                  <a:cubicBezTo>
                    <a:pt x="42" y="8"/>
                    <a:pt x="0" y="57"/>
                    <a:pt x="4" y="113"/>
                  </a:cubicBezTo>
                  <a:cubicBezTo>
                    <a:pt x="8" y="174"/>
                    <a:pt x="8" y="174"/>
                    <a:pt x="8" y="174"/>
                  </a:cubicBezTo>
                  <a:cubicBezTo>
                    <a:pt x="214" y="160"/>
                    <a:pt x="214" y="160"/>
                    <a:pt x="214" y="160"/>
                  </a:cubicBezTo>
                  <a:cubicBezTo>
                    <a:pt x="210" y="99"/>
                    <a:pt x="210" y="99"/>
                    <a:pt x="210" y="99"/>
                  </a:cubicBezTo>
                  <a:cubicBezTo>
                    <a:pt x="206" y="42"/>
                    <a:pt x="157" y="0"/>
                    <a:pt x="101" y="4"/>
                  </a:cubicBez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7" name="Freeform 113"/>
            <p:cNvSpPr>
              <a:spLocks/>
            </p:cNvSpPr>
            <p:nvPr userDrawn="1"/>
          </p:nvSpPr>
          <p:spPr bwMode="auto">
            <a:xfrm>
              <a:off x="6883065" y="3659071"/>
              <a:ext cx="429548" cy="457562"/>
            </a:xfrm>
            <a:custGeom>
              <a:avLst/>
              <a:gdLst>
                <a:gd name="T0" fmla="*/ 192 w 197"/>
                <a:gd name="T1" fmla="*/ 107 h 210"/>
                <a:gd name="T2" fmla="*/ 130 w 197"/>
                <a:gd name="T3" fmla="*/ 200 h 210"/>
                <a:gd name="T4" fmla="*/ 111 w 197"/>
                <a:gd name="T5" fmla="*/ 210 h 210"/>
                <a:gd name="T6" fmla="*/ 75 w 197"/>
                <a:gd name="T7" fmla="*/ 204 h 210"/>
                <a:gd name="T8" fmla="*/ 6 w 197"/>
                <a:gd name="T9" fmla="*/ 120 h 210"/>
                <a:gd name="T10" fmla="*/ 2 w 197"/>
                <a:gd name="T11" fmla="*/ 52 h 210"/>
                <a:gd name="T12" fmla="*/ 38 w 197"/>
                <a:gd name="T13" fmla="*/ 8 h 210"/>
                <a:gd name="T14" fmla="*/ 146 w 197"/>
                <a:gd name="T15" fmla="*/ 1 h 210"/>
                <a:gd name="T16" fmla="*/ 187 w 197"/>
                <a:gd name="T17" fmla="*/ 40 h 210"/>
                <a:gd name="T18" fmla="*/ 192 w 197"/>
                <a:gd name="T19" fmla="*/ 10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210">
                  <a:moveTo>
                    <a:pt x="192" y="107"/>
                  </a:moveTo>
                  <a:cubicBezTo>
                    <a:pt x="197" y="148"/>
                    <a:pt x="168" y="186"/>
                    <a:pt x="130" y="200"/>
                  </a:cubicBezTo>
                  <a:cubicBezTo>
                    <a:pt x="111" y="210"/>
                    <a:pt x="111" y="210"/>
                    <a:pt x="111" y="210"/>
                  </a:cubicBezTo>
                  <a:cubicBezTo>
                    <a:pt x="75" y="204"/>
                    <a:pt x="75" y="204"/>
                    <a:pt x="75" y="204"/>
                  </a:cubicBezTo>
                  <a:cubicBezTo>
                    <a:pt x="36" y="195"/>
                    <a:pt x="7" y="160"/>
                    <a:pt x="6" y="120"/>
                  </a:cubicBezTo>
                  <a:cubicBezTo>
                    <a:pt x="2" y="52"/>
                    <a:pt x="2" y="52"/>
                    <a:pt x="2" y="52"/>
                  </a:cubicBezTo>
                  <a:cubicBezTo>
                    <a:pt x="0" y="31"/>
                    <a:pt x="16" y="10"/>
                    <a:pt x="38" y="8"/>
                  </a:cubicBezTo>
                  <a:cubicBezTo>
                    <a:pt x="146" y="1"/>
                    <a:pt x="146" y="1"/>
                    <a:pt x="146" y="1"/>
                  </a:cubicBezTo>
                  <a:cubicBezTo>
                    <a:pt x="167" y="0"/>
                    <a:pt x="186" y="18"/>
                    <a:pt x="187" y="40"/>
                  </a:cubicBezTo>
                  <a:lnTo>
                    <a:pt x="192" y="107"/>
                  </a:ln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8" name="Freeform 114"/>
            <p:cNvSpPr>
              <a:spLocks/>
            </p:cNvSpPr>
            <p:nvPr userDrawn="1"/>
          </p:nvSpPr>
          <p:spPr bwMode="auto">
            <a:xfrm>
              <a:off x="7242577" y="3796807"/>
              <a:ext cx="86377" cy="86377"/>
            </a:xfrm>
            <a:custGeom>
              <a:avLst/>
              <a:gdLst>
                <a:gd name="T0" fmla="*/ 39 w 39"/>
                <a:gd name="T1" fmla="*/ 19 h 40"/>
                <a:gd name="T2" fmla="*/ 18 w 39"/>
                <a:gd name="T3" fmla="*/ 1 h 40"/>
                <a:gd name="T4" fmla="*/ 0 w 39"/>
                <a:gd name="T5" fmla="*/ 21 h 40"/>
                <a:gd name="T6" fmla="*/ 21 w 39"/>
                <a:gd name="T7" fmla="*/ 39 h 40"/>
                <a:gd name="T8" fmla="*/ 39 w 39"/>
                <a:gd name="T9" fmla="*/ 19 h 40"/>
              </a:gdLst>
              <a:ahLst/>
              <a:cxnLst>
                <a:cxn ang="0">
                  <a:pos x="T0" y="T1"/>
                </a:cxn>
                <a:cxn ang="0">
                  <a:pos x="T2" y="T3"/>
                </a:cxn>
                <a:cxn ang="0">
                  <a:pos x="T4" y="T5"/>
                </a:cxn>
                <a:cxn ang="0">
                  <a:pos x="T6" y="T7"/>
                </a:cxn>
                <a:cxn ang="0">
                  <a:pos x="T8" y="T9"/>
                </a:cxn>
              </a:cxnLst>
              <a:rect l="0" t="0" r="r" b="b"/>
              <a:pathLst>
                <a:path w="39" h="40">
                  <a:moveTo>
                    <a:pt x="39" y="19"/>
                  </a:moveTo>
                  <a:cubicBezTo>
                    <a:pt x="38" y="8"/>
                    <a:pt x="29" y="0"/>
                    <a:pt x="18" y="1"/>
                  </a:cubicBezTo>
                  <a:cubicBezTo>
                    <a:pt x="8" y="2"/>
                    <a:pt x="0" y="11"/>
                    <a:pt x="0" y="21"/>
                  </a:cubicBezTo>
                  <a:cubicBezTo>
                    <a:pt x="1" y="32"/>
                    <a:pt x="10" y="40"/>
                    <a:pt x="21" y="39"/>
                  </a:cubicBezTo>
                  <a:cubicBezTo>
                    <a:pt x="31" y="38"/>
                    <a:pt x="39" y="29"/>
                    <a:pt x="39" y="19"/>
                  </a:cubicBez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19" name="Freeform 115"/>
            <p:cNvSpPr>
              <a:spLocks/>
            </p:cNvSpPr>
            <p:nvPr userDrawn="1"/>
          </p:nvSpPr>
          <p:spPr bwMode="auto">
            <a:xfrm>
              <a:off x="7069824" y="3722102"/>
              <a:ext cx="242787" cy="392196"/>
            </a:xfrm>
            <a:custGeom>
              <a:avLst/>
              <a:gdLst>
                <a:gd name="T0" fmla="*/ 106 w 111"/>
                <a:gd name="T1" fmla="*/ 78 h 180"/>
                <a:gd name="T2" fmla="*/ 101 w 111"/>
                <a:gd name="T3" fmla="*/ 17 h 180"/>
                <a:gd name="T4" fmla="*/ 73 w 111"/>
                <a:gd name="T5" fmla="*/ 1 h 180"/>
                <a:gd name="T6" fmla="*/ 44 w 111"/>
                <a:gd name="T7" fmla="*/ 3 h 180"/>
                <a:gd name="T8" fmla="*/ 17 w 111"/>
                <a:gd name="T9" fmla="*/ 34 h 180"/>
                <a:gd name="T10" fmla="*/ 17 w 111"/>
                <a:gd name="T11" fmla="*/ 34 h 180"/>
                <a:gd name="T12" fmla="*/ 17 w 111"/>
                <a:gd name="T13" fmla="*/ 34 h 180"/>
                <a:gd name="T14" fmla="*/ 21 w 111"/>
                <a:gd name="T15" fmla="*/ 51 h 180"/>
                <a:gd name="T16" fmla="*/ 31 w 111"/>
                <a:gd name="T17" fmla="*/ 70 h 180"/>
                <a:gd name="T18" fmla="*/ 27 w 111"/>
                <a:gd name="T19" fmla="*/ 77 h 180"/>
                <a:gd name="T20" fmla="*/ 20 w 111"/>
                <a:gd name="T21" fmla="*/ 77 h 180"/>
                <a:gd name="T22" fmla="*/ 2 w 111"/>
                <a:gd name="T23" fmla="*/ 79 h 180"/>
                <a:gd name="T24" fmla="*/ 0 w 111"/>
                <a:gd name="T25" fmla="*/ 79 h 180"/>
                <a:gd name="T26" fmla="*/ 2 w 111"/>
                <a:gd name="T27" fmla="*/ 80 h 180"/>
                <a:gd name="T28" fmla="*/ 12 w 111"/>
                <a:gd name="T29" fmla="*/ 84 h 180"/>
                <a:gd name="T30" fmla="*/ 38 w 111"/>
                <a:gd name="T31" fmla="*/ 151 h 180"/>
                <a:gd name="T32" fmla="*/ 25 w 111"/>
                <a:gd name="T33" fmla="*/ 147 h 180"/>
                <a:gd name="T34" fmla="*/ 10 w 111"/>
                <a:gd name="T35" fmla="*/ 158 h 180"/>
                <a:gd name="T36" fmla="*/ 25 w 111"/>
                <a:gd name="T37" fmla="*/ 153 h 180"/>
                <a:gd name="T38" fmla="*/ 37 w 111"/>
                <a:gd name="T39" fmla="*/ 154 h 180"/>
                <a:gd name="T40" fmla="*/ 28 w 111"/>
                <a:gd name="T41" fmla="*/ 180 h 180"/>
                <a:gd name="T42" fmla="*/ 51 w 111"/>
                <a:gd name="T43" fmla="*/ 171 h 180"/>
                <a:gd name="T44" fmla="*/ 106 w 111"/>
                <a:gd name="T45" fmla="*/ 7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 h="180">
                  <a:moveTo>
                    <a:pt x="106" y="78"/>
                  </a:moveTo>
                  <a:cubicBezTo>
                    <a:pt x="101" y="17"/>
                    <a:pt x="101" y="17"/>
                    <a:pt x="101" y="17"/>
                  </a:cubicBezTo>
                  <a:cubicBezTo>
                    <a:pt x="96" y="7"/>
                    <a:pt x="85" y="0"/>
                    <a:pt x="73" y="1"/>
                  </a:cubicBezTo>
                  <a:cubicBezTo>
                    <a:pt x="44" y="3"/>
                    <a:pt x="44" y="3"/>
                    <a:pt x="44" y="3"/>
                  </a:cubicBezTo>
                  <a:cubicBezTo>
                    <a:pt x="28" y="4"/>
                    <a:pt x="16" y="18"/>
                    <a:pt x="17" y="34"/>
                  </a:cubicBezTo>
                  <a:cubicBezTo>
                    <a:pt x="17" y="34"/>
                    <a:pt x="17" y="34"/>
                    <a:pt x="17" y="34"/>
                  </a:cubicBezTo>
                  <a:cubicBezTo>
                    <a:pt x="17" y="34"/>
                    <a:pt x="17" y="34"/>
                    <a:pt x="17" y="34"/>
                  </a:cubicBezTo>
                  <a:cubicBezTo>
                    <a:pt x="17" y="40"/>
                    <a:pt x="19" y="46"/>
                    <a:pt x="21" y="51"/>
                  </a:cubicBezTo>
                  <a:cubicBezTo>
                    <a:pt x="31" y="70"/>
                    <a:pt x="31" y="70"/>
                    <a:pt x="31" y="70"/>
                  </a:cubicBezTo>
                  <a:cubicBezTo>
                    <a:pt x="33" y="73"/>
                    <a:pt x="31" y="77"/>
                    <a:pt x="27" y="77"/>
                  </a:cubicBezTo>
                  <a:cubicBezTo>
                    <a:pt x="20" y="77"/>
                    <a:pt x="20" y="77"/>
                    <a:pt x="20" y="77"/>
                  </a:cubicBezTo>
                  <a:cubicBezTo>
                    <a:pt x="2" y="79"/>
                    <a:pt x="2" y="79"/>
                    <a:pt x="2" y="79"/>
                  </a:cubicBezTo>
                  <a:cubicBezTo>
                    <a:pt x="0" y="79"/>
                    <a:pt x="0" y="79"/>
                    <a:pt x="0" y="79"/>
                  </a:cubicBezTo>
                  <a:cubicBezTo>
                    <a:pt x="2" y="80"/>
                    <a:pt x="2" y="80"/>
                    <a:pt x="2" y="80"/>
                  </a:cubicBezTo>
                  <a:cubicBezTo>
                    <a:pt x="5" y="82"/>
                    <a:pt x="9" y="84"/>
                    <a:pt x="12" y="84"/>
                  </a:cubicBezTo>
                  <a:cubicBezTo>
                    <a:pt x="25" y="93"/>
                    <a:pt x="46" y="114"/>
                    <a:pt x="38" y="151"/>
                  </a:cubicBezTo>
                  <a:cubicBezTo>
                    <a:pt x="35" y="148"/>
                    <a:pt x="30" y="146"/>
                    <a:pt x="25" y="147"/>
                  </a:cubicBezTo>
                  <a:cubicBezTo>
                    <a:pt x="16" y="147"/>
                    <a:pt x="10" y="152"/>
                    <a:pt x="10" y="158"/>
                  </a:cubicBezTo>
                  <a:cubicBezTo>
                    <a:pt x="14" y="155"/>
                    <a:pt x="19" y="153"/>
                    <a:pt x="25" y="153"/>
                  </a:cubicBezTo>
                  <a:cubicBezTo>
                    <a:pt x="30" y="152"/>
                    <a:pt x="34" y="153"/>
                    <a:pt x="37" y="154"/>
                  </a:cubicBezTo>
                  <a:cubicBezTo>
                    <a:pt x="35" y="162"/>
                    <a:pt x="32" y="171"/>
                    <a:pt x="28" y="180"/>
                  </a:cubicBezTo>
                  <a:cubicBezTo>
                    <a:pt x="51" y="171"/>
                    <a:pt x="51" y="171"/>
                    <a:pt x="51" y="171"/>
                  </a:cubicBezTo>
                  <a:cubicBezTo>
                    <a:pt x="89" y="157"/>
                    <a:pt x="111" y="119"/>
                    <a:pt x="106" y="78"/>
                  </a:cubicBezTo>
                  <a:close/>
                </a:path>
              </a:pathLst>
            </a:custGeom>
            <a:solidFill>
              <a:srgbClr val="915E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0" name="Freeform 116"/>
            <p:cNvSpPr>
              <a:spLocks/>
            </p:cNvSpPr>
            <p:nvPr userDrawn="1"/>
          </p:nvSpPr>
          <p:spPr bwMode="auto">
            <a:xfrm>
              <a:off x="6848046" y="3824821"/>
              <a:ext cx="88711" cy="86377"/>
            </a:xfrm>
            <a:custGeom>
              <a:avLst/>
              <a:gdLst>
                <a:gd name="T0" fmla="*/ 39 w 40"/>
                <a:gd name="T1" fmla="*/ 18 h 39"/>
                <a:gd name="T2" fmla="*/ 18 w 40"/>
                <a:gd name="T3" fmla="*/ 0 h 39"/>
                <a:gd name="T4" fmla="*/ 0 w 40"/>
                <a:gd name="T5" fmla="*/ 21 h 39"/>
                <a:gd name="T6" fmla="*/ 21 w 40"/>
                <a:gd name="T7" fmla="*/ 39 h 39"/>
                <a:gd name="T8" fmla="*/ 39 w 40"/>
                <a:gd name="T9" fmla="*/ 18 h 39"/>
              </a:gdLst>
              <a:ahLst/>
              <a:cxnLst>
                <a:cxn ang="0">
                  <a:pos x="T0" y="T1"/>
                </a:cxn>
                <a:cxn ang="0">
                  <a:pos x="T2" y="T3"/>
                </a:cxn>
                <a:cxn ang="0">
                  <a:pos x="T4" y="T5"/>
                </a:cxn>
                <a:cxn ang="0">
                  <a:pos x="T6" y="T7"/>
                </a:cxn>
                <a:cxn ang="0">
                  <a:pos x="T8" y="T9"/>
                </a:cxn>
              </a:cxnLst>
              <a:rect l="0" t="0" r="r" b="b"/>
              <a:pathLst>
                <a:path w="40" h="39">
                  <a:moveTo>
                    <a:pt x="39" y="18"/>
                  </a:moveTo>
                  <a:cubicBezTo>
                    <a:pt x="38" y="8"/>
                    <a:pt x="29" y="0"/>
                    <a:pt x="18" y="0"/>
                  </a:cubicBezTo>
                  <a:cubicBezTo>
                    <a:pt x="8" y="1"/>
                    <a:pt x="0" y="10"/>
                    <a:pt x="0" y="21"/>
                  </a:cubicBezTo>
                  <a:cubicBezTo>
                    <a:pt x="1" y="31"/>
                    <a:pt x="10" y="39"/>
                    <a:pt x="21" y="39"/>
                  </a:cubicBezTo>
                  <a:cubicBezTo>
                    <a:pt x="32" y="38"/>
                    <a:pt x="40" y="29"/>
                    <a:pt x="39" y="18"/>
                  </a:cubicBez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1" name="Freeform 117"/>
            <p:cNvSpPr>
              <a:spLocks/>
            </p:cNvSpPr>
            <p:nvPr userDrawn="1"/>
          </p:nvSpPr>
          <p:spPr bwMode="auto">
            <a:xfrm>
              <a:off x="6887734" y="3780465"/>
              <a:ext cx="424879" cy="336168"/>
            </a:xfrm>
            <a:custGeom>
              <a:avLst/>
              <a:gdLst>
                <a:gd name="T0" fmla="*/ 190 w 194"/>
                <a:gd name="T1" fmla="*/ 53 h 155"/>
                <a:gd name="T2" fmla="*/ 186 w 194"/>
                <a:gd name="T3" fmla="*/ 0 h 155"/>
                <a:gd name="T4" fmla="*/ 142 w 194"/>
                <a:gd name="T5" fmla="*/ 81 h 155"/>
                <a:gd name="T6" fmla="*/ 102 w 194"/>
                <a:gd name="T7" fmla="*/ 63 h 155"/>
                <a:gd name="T8" fmla="*/ 101 w 194"/>
                <a:gd name="T9" fmla="*/ 63 h 155"/>
                <a:gd name="T10" fmla="*/ 63 w 194"/>
                <a:gd name="T11" fmla="*/ 86 h 155"/>
                <a:gd name="T12" fmla="*/ 0 w 194"/>
                <a:gd name="T13" fmla="*/ 14 h 155"/>
                <a:gd name="T14" fmla="*/ 3 w 194"/>
                <a:gd name="T15" fmla="*/ 65 h 155"/>
                <a:gd name="T16" fmla="*/ 108 w 194"/>
                <a:gd name="T17" fmla="*/ 155 h 155"/>
                <a:gd name="T18" fmla="*/ 134 w 194"/>
                <a:gd name="T19" fmla="*/ 145 h 155"/>
                <a:gd name="T20" fmla="*/ 190 w 194"/>
                <a:gd name="T21" fmla="*/ 53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4" h="155">
                  <a:moveTo>
                    <a:pt x="190" y="53"/>
                  </a:moveTo>
                  <a:cubicBezTo>
                    <a:pt x="186" y="0"/>
                    <a:pt x="186" y="0"/>
                    <a:pt x="186" y="0"/>
                  </a:cubicBezTo>
                  <a:cubicBezTo>
                    <a:pt x="187" y="34"/>
                    <a:pt x="171" y="65"/>
                    <a:pt x="142" y="81"/>
                  </a:cubicBezTo>
                  <a:cubicBezTo>
                    <a:pt x="133" y="69"/>
                    <a:pt x="118" y="61"/>
                    <a:pt x="102" y="63"/>
                  </a:cubicBezTo>
                  <a:cubicBezTo>
                    <a:pt x="101" y="63"/>
                    <a:pt x="101" y="63"/>
                    <a:pt x="101" y="63"/>
                  </a:cubicBezTo>
                  <a:cubicBezTo>
                    <a:pt x="85" y="64"/>
                    <a:pt x="71" y="73"/>
                    <a:pt x="63" y="86"/>
                  </a:cubicBezTo>
                  <a:cubicBezTo>
                    <a:pt x="33" y="74"/>
                    <a:pt x="4" y="47"/>
                    <a:pt x="0" y="14"/>
                  </a:cubicBezTo>
                  <a:cubicBezTo>
                    <a:pt x="3" y="65"/>
                    <a:pt x="3" y="65"/>
                    <a:pt x="3" y="65"/>
                  </a:cubicBezTo>
                  <a:cubicBezTo>
                    <a:pt x="4" y="154"/>
                    <a:pt x="108" y="155"/>
                    <a:pt x="108" y="155"/>
                  </a:cubicBezTo>
                  <a:cubicBezTo>
                    <a:pt x="134" y="145"/>
                    <a:pt x="134" y="145"/>
                    <a:pt x="134" y="145"/>
                  </a:cubicBezTo>
                  <a:cubicBezTo>
                    <a:pt x="172" y="131"/>
                    <a:pt x="194" y="93"/>
                    <a:pt x="190" y="53"/>
                  </a:cubicBez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2" name="Freeform 118"/>
            <p:cNvSpPr>
              <a:spLocks/>
            </p:cNvSpPr>
            <p:nvPr userDrawn="1"/>
          </p:nvSpPr>
          <p:spPr bwMode="auto">
            <a:xfrm>
              <a:off x="7053483" y="3971894"/>
              <a:ext cx="121394" cy="56028"/>
            </a:xfrm>
            <a:custGeom>
              <a:avLst/>
              <a:gdLst>
                <a:gd name="T0" fmla="*/ 0 w 56"/>
                <a:gd name="T1" fmla="*/ 4 h 26"/>
                <a:gd name="T2" fmla="*/ 30 w 56"/>
                <a:gd name="T3" fmla="*/ 25 h 26"/>
                <a:gd name="T4" fmla="*/ 56 w 56"/>
                <a:gd name="T5" fmla="*/ 0 h 26"/>
                <a:gd name="T6" fmla="*/ 0 w 56"/>
                <a:gd name="T7" fmla="*/ 4 h 26"/>
              </a:gdLst>
              <a:ahLst/>
              <a:cxnLst>
                <a:cxn ang="0">
                  <a:pos x="T0" y="T1"/>
                </a:cxn>
                <a:cxn ang="0">
                  <a:pos x="T2" y="T3"/>
                </a:cxn>
                <a:cxn ang="0">
                  <a:pos x="T4" y="T5"/>
                </a:cxn>
                <a:cxn ang="0">
                  <a:pos x="T6" y="T7"/>
                </a:cxn>
              </a:cxnLst>
              <a:rect l="0" t="0" r="r" b="b"/>
              <a:pathLst>
                <a:path w="56" h="26">
                  <a:moveTo>
                    <a:pt x="0" y="4"/>
                  </a:moveTo>
                  <a:cubicBezTo>
                    <a:pt x="4" y="17"/>
                    <a:pt x="16" y="26"/>
                    <a:pt x="30" y="25"/>
                  </a:cubicBezTo>
                  <a:cubicBezTo>
                    <a:pt x="44" y="24"/>
                    <a:pt x="55" y="13"/>
                    <a:pt x="56" y="0"/>
                  </a:cubicBez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3" name="Freeform 119"/>
            <p:cNvSpPr>
              <a:spLocks/>
            </p:cNvSpPr>
            <p:nvPr userDrawn="1"/>
          </p:nvSpPr>
          <p:spPr bwMode="auto">
            <a:xfrm>
              <a:off x="7172540" y="3782798"/>
              <a:ext cx="39687" cy="37352"/>
            </a:xfrm>
            <a:custGeom>
              <a:avLst/>
              <a:gdLst>
                <a:gd name="T0" fmla="*/ 18 w 18"/>
                <a:gd name="T1" fmla="*/ 8 h 18"/>
                <a:gd name="T2" fmla="*/ 9 w 18"/>
                <a:gd name="T3" fmla="*/ 0 h 18"/>
                <a:gd name="T4" fmla="*/ 0 w 18"/>
                <a:gd name="T5" fmla="*/ 9 h 18"/>
                <a:gd name="T6" fmla="*/ 10 w 18"/>
                <a:gd name="T7" fmla="*/ 17 h 18"/>
                <a:gd name="T8" fmla="*/ 18 w 18"/>
                <a:gd name="T9" fmla="*/ 8 h 18"/>
              </a:gdLst>
              <a:ahLst/>
              <a:cxnLst>
                <a:cxn ang="0">
                  <a:pos x="T0" y="T1"/>
                </a:cxn>
                <a:cxn ang="0">
                  <a:pos x="T2" y="T3"/>
                </a:cxn>
                <a:cxn ang="0">
                  <a:pos x="T4" y="T5"/>
                </a:cxn>
                <a:cxn ang="0">
                  <a:pos x="T6" y="T7"/>
                </a:cxn>
                <a:cxn ang="0">
                  <a:pos x="T8" y="T9"/>
                </a:cxn>
              </a:cxnLst>
              <a:rect l="0" t="0" r="r" b="b"/>
              <a:pathLst>
                <a:path w="18" h="18">
                  <a:moveTo>
                    <a:pt x="18" y="8"/>
                  </a:moveTo>
                  <a:cubicBezTo>
                    <a:pt x="18" y="3"/>
                    <a:pt x="13" y="0"/>
                    <a:pt x="9" y="0"/>
                  </a:cubicBezTo>
                  <a:cubicBezTo>
                    <a:pt x="4" y="0"/>
                    <a:pt x="0" y="5"/>
                    <a:pt x="0" y="9"/>
                  </a:cubicBezTo>
                  <a:cubicBezTo>
                    <a:pt x="1" y="14"/>
                    <a:pt x="5" y="18"/>
                    <a:pt x="10" y="17"/>
                  </a:cubicBezTo>
                  <a:cubicBezTo>
                    <a:pt x="15" y="17"/>
                    <a:pt x="18" y="13"/>
                    <a:pt x="18"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4" name="Freeform 120"/>
            <p:cNvSpPr>
              <a:spLocks/>
            </p:cNvSpPr>
            <p:nvPr userDrawn="1"/>
          </p:nvSpPr>
          <p:spPr bwMode="auto">
            <a:xfrm>
              <a:off x="7006794" y="3792138"/>
              <a:ext cx="39687" cy="39687"/>
            </a:xfrm>
            <a:custGeom>
              <a:avLst/>
              <a:gdLst>
                <a:gd name="T0" fmla="*/ 18 w 18"/>
                <a:gd name="T1" fmla="*/ 8 h 18"/>
                <a:gd name="T2" fmla="*/ 9 w 18"/>
                <a:gd name="T3" fmla="*/ 0 h 18"/>
                <a:gd name="T4" fmla="*/ 1 w 18"/>
                <a:gd name="T5" fmla="*/ 9 h 18"/>
                <a:gd name="T6" fmla="*/ 10 w 18"/>
                <a:gd name="T7" fmla="*/ 17 h 18"/>
                <a:gd name="T8" fmla="*/ 18 w 18"/>
                <a:gd name="T9" fmla="*/ 8 h 18"/>
              </a:gdLst>
              <a:ahLst/>
              <a:cxnLst>
                <a:cxn ang="0">
                  <a:pos x="T0" y="T1"/>
                </a:cxn>
                <a:cxn ang="0">
                  <a:pos x="T2" y="T3"/>
                </a:cxn>
                <a:cxn ang="0">
                  <a:pos x="T4" y="T5"/>
                </a:cxn>
                <a:cxn ang="0">
                  <a:pos x="T6" y="T7"/>
                </a:cxn>
                <a:cxn ang="0">
                  <a:pos x="T8" y="T9"/>
                </a:cxn>
              </a:cxnLst>
              <a:rect l="0" t="0" r="r" b="b"/>
              <a:pathLst>
                <a:path w="18" h="18">
                  <a:moveTo>
                    <a:pt x="18" y="8"/>
                  </a:moveTo>
                  <a:cubicBezTo>
                    <a:pt x="18" y="3"/>
                    <a:pt x="14" y="0"/>
                    <a:pt x="9" y="0"/>
                  </a:cubicBezTo>
                  <a:cubicBezTo>
                    <a:pt x="4" y="0"/>
                    <a:pt x="0" y="5"/>
                    <a:pt x="1" y="9"/>
                  </a:cubicBezTo>
                  <a:cubicBezTo>
                    <a:pt x="1" y="14"/>
                    <a:pt x="5" y="18"/>
                    <a:pt x="10" y="17"/>
                  </a:cubicBezTo>
                  <a:cubicBezTo>
                    <a:pt x="15" y="17"/>
                    <a:pt x="18" y="13"/>
                    <a:pt x="18"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5" name="Freeform 121"/>
            <p:cNvSpPr>
              <a:spLocks/>
            </p:cNvSpPr>
            <p:nvPr userDrawn="1"/>
          </p:nvSpPr>
          <p:spPr bwMode="auto">
            <a:xfrm>
              <a:off x="7352299" y="4137643"/>
              <a:ext cx="394532" cy="574286"/>
            </a:xfrm>
            <a:custGeom>
              <a:avLst/>
              <a:gdLst>
                <a:gd name="T0" fmla="*/ 126 w 180"/>
                <a:gd name="T1" fmla="*/ 9 h 264"/>
                <a:gd name="T2" fmla="*/ 118 w 180"/>
                <a:gd name="T3" fmla="*/ 23 h 264"/>
                <a:gd name="T4" fmla="*/ 103 w 180"/>
                <a:gd name="T5" fmla="*/ 42 h 264"/>
                <a:gd name="T6" fmla="*/ 103 w 180"/>
                <a:gd name="T7" fmla="*/ 16 h 264"/>
                <a:gd name="T8" fmla="*/ 83 w 180"/>
                <a:gd name="T9" fmla="*/ 7 h 264"/>
                <a:gd name="T10" fmla="*/ 82 w 180"/>
                <a:gd name="T11" fmla="*/ 64 h 264"/>
                <a:gd name="T12" fmla="*/ 88 w 180"/>
                <a:gd name="T13" fmla="*/ 75 h 264"/>
                <a:gd name="T14" fmla="*/ 87 w 180"/>
                <a:gd name="T15" fmla="*/ 75 h 264"/>
                <a:gd name="T16" fmla="*/ 0 w 180"/>
                <a:gd name="T17" fmla="*/ 182 h 264"/>
                <a:gd name="T18" fmla="*/ 0 w 180"/>
                <a:gd name="T19" fmla="*/ 263 h 264"/>
                <a:gd name="T20" fmla="*/ 7 w 180"/>
                <a:gd name="T21" fmla="*/ 263 h 264"/>
                <a:gd name="T22" fmla="*/ 12 w 180"/>
                <a:gd name="T23" fmla="*/ 263 h 264"/>
                <a:gd name="T24" fmla="*/ 61 w 180"/>
                <a:gd name="T25" fmla="*/ 238 h 264"/>
                <a:gd name="T26" fmla="*/ 135 w 180"/>
                <a:gd name="T27" fmla="*/ 106 h 264"/>
                <a:gd name="T28" fmla="*/ 165 w 180"/>
                <a:gd name="T29" fmla="*/ 73 h 264"/>
                <a:gd name="T30" fmla="*/ 177 w 180"/>
                <a:gd name="T31" fmla="*/ 53 h 264"/>
                <a:gd name="T32" fmla="*/ 173 w 180"/>
                <a:gd name="T33" fmla="*/ 40 h 264"/>
                <a:gd name="T34" fmla="*/ 168 w 180"/>
                <a:gd name="T35" fmla="*/ 38 h 264"/>
                <a:gd name="T36" fmla="*/ 164 w 180"/>
                <a:gd name="T37" fmla="*/ 26 h 264"/>
                <a:gd name="T38" fmla="*/ 158 w 180"/>
                <a:gd name="T39" fmla="*/ 24 h 264"/>
                <a:gd name="T40" fmla="*/ 158 w 180"/>
                <a:gd name="T41" fmla="*/ 24 h 264"/>
                <a:gd name="T42" fmla="*/ 154 w 180"/>
                <a:gd name="T43" fmla="*/ 10 h 264"/>
                <a:gd name="T44" fmla="*/ 144 w 180"/>
                <a:gd name="T45" fmla="*/ 11 h 264"/>
                <a:gd name="T46" fmla="*/ 140 w 180"/>
                <a:gd name="T47" fmla="*/ 6 h 264"/>
                <a:gd name="T48" fmla="*/ 126 w 180"/>
                <a:gd name="T49" fmla="*/ 9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0" h="264">
                  <a:moveTo>
                    <a:pt x="126" y="9"/>
                  </a:moveTo>
                  <a:cubicBezTo>
                    <a:pt x="118" y="23"/>
                    <a:pt x="118" y="23"/>
                    <a:pt x="118" y="23"/>
                  </a:cubicBezTo>
                  <a:cubicBezTo>
                    <a:pt x="103" y="42"/>
                    <a:pt x="103" y="42"/>
                    <a:pt x="103" y="42"/>
                  </a:cubicBezTo>
                  <a:cubicBezTo>
                    <a:pt x="103" y="16"/>
                    <a:pt x="103" y="16"/>
                    <a:pt x="103" y="16"/>
                  </a:cubicBezTo>
                  <a:cubicBezTo>
                    <a:pt x="103" y="16"/>
                    <a:pt x="96" y="0"/>
                    <a:pt x="83" y="7"/>
                  </a:cubicBezTo>
                  <a:cubicBezTo>
                    <a:pt x="85" y="52"/>
                    <a:pt x="79" y="49"/>
                    <a:pt x="82" y="64"/>
                  </a:cubicBezTo>
                  <a:cubicBezTo>
                    <a:pt x="82" y="66"/>
                    <a:pt x="87" y="74"/>
                    <a:pt x="88" y="75"/>
                  </a:cubicBezTo>
                  <a:cubicBezTo>
                    <a:pt x="87" y="75"/>
                    <a:pt x="87" y="75"/>
                    <a:pt x="87" y="75"/>
                  </a:cubicBezTo>
                  <a:cubicBezTo>
                    <a:pt x="0" y="182"/>
                    <a:pt x="0" y="182"/>
                    <a:pt x="0" y="182"/>
                  </a:cubicBezTo>
                  <a:cubicBezTo>
                    <a:pt x="0" y="263"/>
                    <a:pt x="0" y="263"/>
                    <a:pt x="0" y="263"/>
                  </a:cubicBezTo>
                  <a:cubicBezTo>
                    <a:pt x="0" y="263"/>
                    <a:pt x="4" y="263"/>
                    <a:pt x="7" y="263"/>
                  </a:cubicBezTo>
                  <a:cubicBezTo>
                    <a:pt x="9" y="263"/>
                    <a:pt x="12" y="263"/>
                    <a:pt x="12" y="263"/>
                  </a:cubicBezTo>
                  <a:cubicBezTo>
                    <a:pt x="31" y="264"/>
                    <a:pt x="50" y="255"/>
                    <a:pt x="61" y="238"/>
                  </a:cubicBezTo>
                  <a:cubicBezTo>
                    <a:pt x="135" y="106"/>
                    <a:pt x="135" y="106"/>
                    <a:pt x="135" y="106"/>
                  </a:cubicBezTo>
                  <a:cubicBezTo>
                    <a:pt x="165" y="73"/>
                    <a:pt x="165" y="73"/>
                    <a:pt x="165" y="73"/>
                  </a:cubicBezTo>
                  <a:cubicBezTo>
                    <a:pt x="177" y="53"/>
                    <a:pt x="177" y="53"/>
                    <a:pt x="177" y="53"/>
                  </a:cubicBezTo>
                  <a:cubicBezTo>
                    <a:pt x="180" y="49"/>
                    <a:pt x="178" y="43"/>
                    <a:pt x="173" y="40"/>
                  </a:cubicBezTo>
                  <a:cubicBezTo>
                    <a:pt x="172" y="39"/>
                    <a:pt x="170" y="38"/>
                    <a:pt x="168" y="38"/>
                  </a:cubicBezTo>
                  <a:cubicBezTo>
                    <a:pt x="170" y="34"/>
                    <a:pt x="168" y="28"/>
                    <a:pt x="164" y="26"/>
                  </a:cubicBezTo>
                  <a:cubicBezTo>
                    <a:pt x="162" y="25"/>
                    <a:pt x="160" y="24"/>
                    <a:pt x="158" y="24"/>
                  </a:cubicBezTo>
                  <a:cubicBezTo>
                    <a:pt x="158" y="24"/>
                    <a:pt x="158" y="24"/>
                    <a:pt x="158" y="24"/>
                  </a:cubicBezTo>
                  <a:cubicBezTo>
                    <a:pt x="161" y="19"/>
                    <a:pt x="159" y="13"/>
                    <a:pt x="154" y="10"/>
                  </a:cubicBezTo>
                  <a:cubicBezTo>
                    <a:pt x="151" y="8"/>
                    <a:pt x="147" y="9"/>
                    <a:pt x="144" y="11"/>
                  </a:cubicBezTo>
                  <a:cubicBezTo>
                    <a:pt x="143" y="9"/>
                    <a:pt x="142" y="7"/>
                    <a:pt x="140" y="6"/>
                  </a:cubicBezTo>
                  <a:cubicBezTo>
                    <a:pt x="135" y="3"/>
                    <a:pt x="129" y="5"/>
                    <a:pt x="126" y="9"/>
                  </a:cubicBezTo>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6" name="Freeform 122"/>
            <p:cNvSpPr>
              <a:spLocks/>
            </p:cNvSpPr>
            <p:nvPr userDrawn="1"/>
          </p:nvSpPr>
          <p:spPr bwMode="auto">
            <a:xfrm>
              <a:off x="7352299" y="4137643"/>
              <a:ext cx="368851" cy="443555"/>
            </a:xfrm>
            <a:custGeom>
              <a:avLst/>
              <a:gdLst>
                <a:gd name="T0" fmla="*/ 154 w 168"/>
                <a:gd name="T1" fmla="*/ 50 h 204"/>
                <a:gd name="T2" fmla="*/ 131 w 168"/>
                <a:gd name="T3" fmla="*/ 37 h 204"/>
                <a:gd name="T4" fmla="*/ 107 w 168"/>
                <a:gd name="T5" fmla="*/ 37 h 204"/>
                <a:gd name="T6" fmla="*/ 103 w 168"/>
                <a:gd name="T7" fmla="*/ 42 h 204"/>
                <a:gd name="T8" fmla="*/ 103 w 168"/>
                <a:gd name="T9" fmla="*/ 16 h 204"/>
                <a:gd name="T10" fmla="*/ 83 w 168"/>
                <a:gd name="T11" fmla="*/ 7 h 204"/>
                <a:gd name="T12" fmla="*/ 82 w 168"/>
                <a:gd name="T13" fmla="*/ 64 h 204"/>
                <a:gd name="T14" fmla="*/ 88 w 168"/>
                <a:gd name="T15" fmla="*/ 75 h 204"/>
                <a:gd name="T16" fmla="*/ 87 w 168"/>
                <a:gd name="T17" fmla="*/ 75 h 204"/>
                <a:gd name="T18" fmla="*/ 65 w 168"/>
                <a:gd name="T19" fmla="*/ 102 h 204"/>
                <a:gd name="T20" fmla="*/ 0 w 168"/>
                <a:gd name="T21" fmla="*/ 182 h 204"/>
                <a:gd name="T22" fmla="*/ 0 w 168"/>
                <a:gd name="T23" fmla="*/ 204 h 204"/>
                <a:gd name="T24" fmla="*/ 89 w 168"/>
                <a:gd name="T25" fmla="*/ 95 h 204"/>
                <a:gd name="T26" fmla="*/ 132 w 168"/>
                <a:gd name="T27" fmla="*/ 87 h 204"/>
                <a:gd name="T28" fmla="*/ 159 w 168"/>
                <a:gd name="T29" fmla="*/ 75 h 204"/>
                <a:gd name="T30" fmla="*/ 164 w 168"/>
                <a:gd name="T31" fmla="*/ 67 h 204"/>
                <a:gd name="T32" fmla="*/ 168 w 168"/>
                <a:gd name="T33" fmla="*/ 60 h 204"/>
                <a:gd name="T34" fmla="*/ 154 w 168"/>
                <a:gd name="T35" fmla="*/ 5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8" h="204">
                  <a:moveTo>
                    <a:pt x="154" y="50"/>
                  </a:moveTo>
                  <a:cubicBezTo>
                    <a:pt x="147" y="46"/>
                    <a:pt x="139" y="41"/>
                    <a:pt x="131" y="37"/>
                  </a:cubicBezTo>
                  <a:cubicBezTo>
                    <a:pt x="107" y="37"/>
                    <a:pt x="107" y="37"/>
                    <a:pt x="107" y="37"/>
                  </a:cubicBezTo>
                  <a:cubicBezTo>
                    <a:pt x="103" y="42"/>
                    <a:pt x="103" y="42"/>
                    <a:pt x="103" y="42"/>
                  </a:cubicBezTo>
                  <a:cubicBezTo>
                    <a:pt x="103" y="16"/>
                    <a:pt x="103" y="16"/>
                    <a:pt x="103" y="16"/>
                  </a:cubicBezTo>
                  <a:cubicBezTo>
                    <a:pt x="103" y="16"/>
                    <a:pt x="96" y="0"/>
                    <a:pt x="83" y="7"/>
                  </a:cubicBezTo>
                  <a:cubicBezTo>
                    <a:pt x="85" y="52"/>
                    <a:pt x="79" y="49"/>
                    <a:pt x="82" y="64"/>
                  </a:cubicBezTo>
                  <a:cubicBezTo>
                    <a:pt x="82" y="66"/>
                    <a:pt x="87" y="74"/>
                    <a:pt x="88" y="75"/>
                  </a:cubicBezTo>
                  <a:cubicBezTo>
                    <a:pt x="87" y="75"/>
                    <a:pt x="87" y="75"/>
                    <a:pt x="87" y="75"/>
                  </a:cubicBezTo>
                  <a:cubicBezTo>
                    <a:pt x="65" y="102"/>
                    <a:pt x="65" y="102"/>
                    <a:pt x="65" y="102"/>
                  </a:cubicBezTo>
                  <a:cubicBezTo>
                    <a:pt x="0" y="182"/>
                    <a:pt x="0" y="182"/>
                    <a:pt x="0" y="182"/>
                  </a:cubicBezTo>
                  <a:cubicBezTo>
                    <a:pt x="0" y="204"/>
                    <a:pt x="0" y="204"/>
                    <a:pt x="0" y="204"/>
                  </a:cubicBezTo>
                  <a:cubicBezTo>
                    <a:pt x="89" y="95"/>
                    <a:pt x="89" y="95"/>
                    <a:pt x="89" y="95"/>
                  </a:cubicBezTo>
                  <a:cubicBezTo>
                    <a:pt x="102" y="90"/>
                    <a:pt x="118" y="90"/>
                    <a:pt x="132" y="87"/>
                  </a:cubicBezTo>
                  <a:cubicBezTo>
                    <a:pt x="142" y="85"/>
                    <a:pt x="152" y="82"/>
                    <a:pt x="159" y="75"/>
                  </a:cubicBezTo>
                  <a:cubicBezTo>
                    <a:pt x="161" y="73"/>
                    <a:pt x="162" y="70"/>
                    <a:pt x="164" y="67"/>
                  </a:cubicBezTo>
                  <a:cubicBezTo>
                    <a:pt x="165" y="65"/>
                    <a:pt x="167" y="62"/>
                    <a:pt x="168" y="60"/>
                  </a:cubicBezTo>
                  <a:cubicBezTo>
                    <a:pt x="163" y="57"/>
                    <a:pt x="158" y="53"/>
                    <a:pt x="154" y="50"/>
                  </a:cubicBezTo>
                </a:path>
              </a:pathLst>
            </a:custGeom>
            <a:solidFill>
              <a:srgbClr val="915E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7" name="Freeform 123"/>
            <p:cNvSpPr>
              <a:spLocks/>
            </p:cNvSpPr>
            <p:nvPr userDrawn="1"/>
          </p:nvSpPr>
          <p:spPr bwMode="auto">
            <a:xfrm>
              <a:off x="7786514" y="4354753"/>
              <a:ext cx="16342" cy="14007"/>
            </a:xfrm>
            <a:custGeom>
              <a:avLst/>
              <a:gdLst>
                <a:gd name="T0" fmla="*/ 4 w 7"/>
                <a:gd name="T1" fmla="*/ 6 h 6"/>
                <a:gd name="T2" fmla="*/ 0 w 7"/>
                <a:gd name="T3" fmla="*/ 3 h 6"/>
                <a:gd name="T4" fmla="*/ 2 w 7"/>
                <a:gd name="T5" fmla="*/ 0 h 6"/>
                <a:gd name="T6" fmla="*/ 6 w 7"/>
                <a:gd name="T7" fmla="*/ 3 h 6"/>
                <a:gd name="T8" fmla="*/ 6 w 7"/>
                <a:gd name="T9" fmla="*/ 5 h 6"/>
                <a:gd name="T10" fmla="*/ 4 w 7"/>
                <a:gd name="T11" fmla="*/ 6 h 6"/>
              </a:gdLst>
              <a:ahLst/>
              <a:cxnLst>
                <a:cxn ang="0">
                  <a:pos x="T0" y="T1"/>
                </a:cxn>
                <a:cxn ang="0">
                  <a:pos x="T2" y="T3"/>
                </a:cxn>
                <a:cxn ang="0">
                  <a:pos x="T4" y="T5"/>
                </a:cxn>
                <a:cxn ang="0">
                  <a:pos x="T6" y="T7"/>
                </a:cxn>
                <a:cxn ang="0">
                  <a:pos x="T8" y="T9"/>
                </a:cxn>
                <a:cxn ang="0">
                  <a:pos x="T10" y="T11"/>
                </a:cxn>
              </a:cxnLst>
              <a:rect l="0" t="0" r="r" b="b"/>
              <a:pathLst>
                <a:path w="7" h="6">
                  <a:moveTo>
                    <a:pt x="4" y="6"/>
                  </a:moveTo>
                  <a:cubicBezTo>
                    <a:pt x="0" y="3"/>
                    <a:pt x="0" y="3"/>
                    <a:pt x="0" y="3"/>
                  </a:cubicBezTo>
                  <a:cubicBezTo>
                    <a:pt x="2" y="0"/>
                    <a:pt x="2" y="0"/>
                    <a:pt x="2" y="0"/>
                  </a:cubicBezTo>
                  <a:cubicBezTo>
                    <a:pt x="6" y="3"/>
                    <a:pt x="6" y="3"/>
                    <a:pt x="6" y="3"/>
                  </a:cubicBezTo>
                  <a:cubicBezTo>
                    <a:pt x="6" y="4"/>
                    <a:pt x="7" y="5"/>
                    <a:pt x="6" y="5"/>
                  </a:cubicBezTo>
                  <a:cubicBezTo>
                    <a:pt x="5" y="6"/>
                    <a:pt x="4" y="6"/>
                    <a:pt x="4" y="6"/>
                  </a:cubicBezTo>
                  <a:close/>
                </a:path>
              </a:pathLst>
            </a:custGeom>
            <a:solidFill>
              <a:srgbClr val="E7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8" name="Freeform 124"/>
            <p:cNvSpPr>
              <a:spLocks/>
            </p:cNvSpPr>
            <p:nvPr userDrawn="1"/>
          </p:nvSpPr>
          <p:spPr bwMode="auto">
            <a:xfrm>
              <a:off x="7490033" y="4142312"/>
              <a:ext cx="270803" cy="212439"/>
            </a:xfrm>
            <a:custGeom>
              <a:avLst/>
              <a:gdLst>
                <a:gd name="T0" fmla="*/ 0 w 116"/>
                <a:gd name="T1" fmla="*/ 4 h 91"/>
                <a:gd name="T2" fmla="*/ 113 w 116"/>
                <a:gd name="T3" fmla="*/ 91 h 91"/>
                <a:gd name="T4" fmla="*/ 116 w 116"/>
                <a:gd name="T5" fmla="*/ 87 h 91"/>
                <a:gd name="T6" fmla="*/ 4 w 116"/>
                <a:gd name="T7" fmla="*/ 0 h 91"/>
                <a:gd name="T8" fmla="*/ 0 w 116"/>
                <a:gd name="T9" fmla="*/ 4 h 91"/>
              </a:gdLst>
              <a:ahLst/>
              <a:cxnLst>
                <a:cxn ang="0">
                  <a:pos x="T0" y="T1"/>
                </a:cxn>
                <a:cxn ang="0">
                  <a:pos x="T2" y="T3"/>
                </a:cxn>
                <a:cxn ang="0">
                  <a:pos x="T4" y="T5"/>
                </a:cxn>
                <a:cxn ang="0">
                  <a:pos x="T6" y="T7"/>
                </a:cxn>
                <a:cxn ang="0">
                  <a:pos x="T8" y="T9"/>
                </a:cxn>
              </a:cxnLst>
              <a:rect l="0" t="0" r="r" b="b"/>
              <a:pathLst>
                <a:path w="116" h="91">
                  <a:moveTo>
                    <a:pt x="0" y="4"/>
                  </a:moveTo>
                  <a:lnTo>
                    <a:pt x="113" y="91"/>
                  </a:lnTo>
                  <a:lnTo>
                    <a:pt x="116" y="87"/>
                  </a:lnTo>
                  <a:lnTo>
                    <a:pt x="4" y="0"/>
                  </a:lnTo>
                  <a:lnTo>
                    <a:pt x="0" y="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9" name="Freeform 125"/>
            <p:cNvSpPr>
              <a:spLocks/>
            </p:cNvSpPr>
            <p:nvPr userDrawn="1"/>
          </p:nvSpPr>
          <p:spPr bwMode="auto">
            <a:xfrm>
              <a:off x="7490033" y="4142312"/>
              <a:ext cx="270803" cy="212439"/>
            </a:xfrm>
            <a:custGeom>
              <a:avLst/>
              <a:gdLst>
                <a:gd name="T0" fmla="*/ 0 w 116"/>
                <a:gd name="T1" fmla="*/ 4 h 91"/>
                <a:gd name="T2" fmla="*/ 113 w 116"/>
                <a:gd name="T3" fmla="*/ 91 h 91"/>
                <a:gd name="T4" fmla="*/ 116 w 116"/>
                <a:gd name="T5" fmla="*/ 87 h 91"/>
                <a:gd name="T6" fmla="*/ 4 w 116"/>
                <a:gd name="T7" fmla="*/ 0 h 91"/>
                <a:gd name="T8" fmla="*/ 0 w 116"/>
                <a:gd name="T9" fmla="*/ 4 h 91"/>
              </a:gdLst>
              <a:ahLst/>
              <a:cxnLst>
                <a:cxn ang="0">
                  <a:pos x="T0" y="T1"/>
                </a:cxn>
                <a:cxn ang="0">
                  <a:pos x="T2" y="T3"/>
                </a:cxn>
                <a:cxn ang="0">
                  <a:pos x="T4" y="T5"/>
                </a:cxn>
                <a:cxn ang="0">
                  <a:pos x="T6" y="T7"/>
                </a:cxn>
                <a:cxn ang="0">
                  <a:pos x="T8" y="T9"/>
                </a:cxn>
              </a:cxnLst>
              <a:rect l="0" t="0" r="r" b="b"/>
              <a:pathLst>
                <a:path w="116" h="91">
                  <a:moveTo>
                    <a:pt x="0" y="4"/>
                  </a:moveTo>
                  <a:lnTo>
                    <a:pt x="113" y="91"/>
                  </a:lnTo>
                  <a:lnTo>
                    <a:pt x="116" y="87"/>
                  </a:lnTo>
                  <a:lnTo>
                    <a:pt x="4" y="0"/>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0" name="Freeform 126"/>
            <p:cNvSpPr>
              <a:spLocks/>
            </p:cNvSpPr>
            <p:nvPr userDrawn="1"/>
          </p:nvSpPr>
          <p:spPr bwMode="auto">
            <a:xfrm>
              <a:off x="7490033" y="4121302"/>
              <a:ext cx="287143" cy="233451"/>
            </a:xfrm>
            <a:custGeom>
              <a:avLst/>
              <a:gdLst>
                <a:gd name="T0" fmla="*/ 11 w 123"/>
                <a:gd name="T1" fmla="*/ 0 h 100"/>
                <a:gd name="T2" fmla="*/ 4 w 123"/>
                <a:gd name="T3" fmla="*/ 9 h 100"/>
                <a:gd name="T4" fmla="*/ 0 w 123"/>
                <a:gd name="T5" fmla="*/ 13 h 100"/>
                <a:gd name="T6" fmla="*/ 113 w 123"/>
                <a:gd name="T7" fmla="*/ 100 h 100"/>
                <a:gd name="T8" fmla="*/ 116 w 123"/>
                <a:gd name="T9" fmla="*/ 96 h 100"/>
                <a:gd name="T10" fmla="*/ 123 w 123"/>
                <a:gd name="T11" fmla="*/ 87 h 100"/>
                <a:gd name="T12" fmla="*/ 11 w 123"/>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123" h="100">
                  <a:moveTo>
                    <a:pt x="11" y="0"/>
                  </a:moveTo>
                  <a:lnTo>
                    <a:pt x="4" y="9"/>
                  </a:lnTo>
                  <a:lnTo>
                    <a:pt x="0" y="13"/>
                  </a:lnTo>
                  <a:lnTo>
                    <a:pt x="113" y="100"/>
                  </a:lnTo>
                  <a:lnTo>
                    <a:pt x="116" y="96"/>
                  </a:lnTo>
                  <a:lnTo>
                    <a:pt x="123" y="87"/>
                  </a:lnTo>
                  <a:lnTo>
                    <a:pt x="11" y="0"/>
                  </a:ln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1" name="Freeform 127"/>
            <p:cNvSpPr>
              <a:spLocks/>
            </p:cNvSpPr>
            <p:nvPr userDrawn="1"/>
          </p:nvSpPr>
          <p:spPr bwMode="auto">
            <a:xfrm>
              <a:off x="7490033" y="4121302"/>
              <a:ext cx="287143" cy="233451"/>
            </a:xfrm>
            <a:custGeom>
              <a:avLst/>
              <a:gdLst>
                <a:gd name="T0" fmla="*/ 11 w 123"/>
                <a:gd name="T1" fmla="*/ 0 h 100"/>
                <a:gd name="T2" fmla="*/ 4 w 123"/>
                <a:gd name="T3" fmla="*/ 9 h 100"/>
                <a:gd name="T4" fmla="*/ 0 w 123"/>
                <a:gd name="T5" fmla="*/ 13 h 100"/>
                <a:gd name="T6" fmla="*/ 113 w 123"/>
                <a:gd name="T7" fmla="*/ 100 h 100"/>
                <a:gd name="T8" fmla="*/ 116 w 123"/>
                <a:gd name="T9" fmla="*/ 96 h 100"/>
                <a:gd name="T10" fmla="*/ 123 w 123"/>
                <a:gd name="T11" fmla="*/ 87 h 100"/>
                <a:gd name="T12" fmla="*/ 11 w 123"/>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123" h="100">
                  <a:moveTo>
                    <a:pt x="11" y="0"/>
                  </a:moveTo>
                  <a:lnTo>
                    <a:pt x="4" y="9"/>
                  </a:lnTo>
                  <a:lnTo>
                    <a:pt x="0" y="13"/>
                  </a:lnTo>
                  <a:lnTo>
                    <a:pt x="113" y="100"/>
                  </a:lnTo>
                  <a:lnTo>
                    <a:pt x="116" y="96"/>
                  </a:lnTo>
                  <a:lnTo>
                    <a:pt x="123" y="87"/>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2" name="Freeform 128"/>
            <p:cNvSpPr>
              <a:spLocks/>
            </p:cNvSpPr>
            <p:nvPr userDrawn="1"/>
          </p:nvSpPr>
          <p:spPr bwMode="auto">
            <a:xfrm>
              <a:off x="7485364" y="4116633"/>
              <a:ext cx="28014" cy="32683"/>
            </a:xfrm>
            <a:custGeom>
              <a:avLst/>
              <a:gdLst>
                <a:gd name="T0" fmla="*/ 0 w 12"/>
                <a:gd name="T1" fmla="*/ 11 h 14"/>
                <a:gd name="T2" fmla="*/ 3 w 12"/>
                <a:gd name="T3" fmla="*/ 14 h 14"/>
                <a:gd name="T4" fmla="*/ 12 w 12"/>
                <a:gd name="T5" fmla="*/ 3 h 14"/>
                <a:gd name="T6" fmla="*/ 8 w 12"/>
                <a:gd name="T7" fmla="*/ 0 h 14"/>
                <a:gd name="T8" fmla="*/ 0 w 12"/>
                <a:gd name="T9" fmla="*/ 11 h 14"/>
              </a:gdLst>
              <a:ahLst/>
              <a:cxnLst>
                <a:cxn ang="0">
                  <a:pos x="T0" y="T1"/>
                </a:cxn>
                <a:cxn ang="0">
                  <a:pos x="T2" y="T3"/>
                </a:cxn>
                <a:cxn ang="0">
                  <a:pos x="T4" y="T5"/>
                </a:cxn>
                <a:cxn ang="0">
                  <a:pos x="T6" y="T7"/>
                </a:cxn>
                <a:cxn ang="0">
                  <a:pos x="T8" y="T9"/>
                </a:cxn>
              </a:cxnLst>
              <a:rect l="0" t="0" r="r" b="b"/>
              <a:pathLst>
                <a:path w="12" h="14">
                  <a:moveTo>
                    <a:pt x="0" y="11"/>
                  </a:moveTo>
                  <a:lnTo>
                    <a:pt x="3" y="14"/>
                  </a:lnTo>
                  <a:lnTo>
                    <a:pt x="12" y="3"/>
                  </a:lnTo>
                  <a:lnTo>
                    <a:pt x="8" y="0"/>
                  </a:lnTo>
                  <a:lnTo>
                    <a:pt x="0" y="11"/>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3" name="Freeform 129"/>
            <p:cNvSpPr>
              <a:spLocks/>
            </p:cNvSpPr>
            <p:nvPr userDrawn="1"/>
          </p:nvSpPr>
          <p:spPr bwMode="auto">
            <a:xfrm>
              <a:off x="7485364" y="4116633"/>
              <a:ext cx="28014" cy="32683"/>
            </a:xfrm>
            <a:custGeom>
              <a:avLst/>
              <a:gdLst>
                <a:gd name="T0" fmla="*/ 0 w 12"/>
                <a:gd name="T1" fmla="*/ 11 h 14"/>
                <a:gd name="T2" fmla="*/ 3 w 12"/>
                <a:gd name="T3" fmla="*/ 14 h 14"/>
                <a:gd name="T4" fmla="*/ 12 w 12"/>
                <a:gd name="T5" fmla="*/ 3 h 14"/>
                <a:gd name="T6" fmla="*/ 8 w 12"/>
                <a:gd name="T7" fmla="*/ 0 h 14"/>
                <a:gd name="T8" fmla="*/ 0 w 12"/>
                <a:gd name="T9" fmla="*/ 11 h 14"/>
              </a:gdLst>
              <a:ahLst/>
              <a:cxnLst>
                <a:cxn ang="0">
                  <a:pos x="T0" y="T1"/>
                </a:cxn>
                <a:cxn ang="0">
                  <a:pos x="T2" y="T3"/>
                </a:cxn>
                <a:cxn ang="0">
                  <a:pos x="T4" y="T5"/>
                </a:cxn>
                <a:cxn ang="0">
                  <a:pos x="T6" y="T7"/>
                </a:cxn>
                <a:cxn ang="0">
                  <a:pos x="T8" y="T9"/>
                </a:cxn>
              </a:cxnLst>
              <a:rect l="0" t="0" r="r" b="b"/>
              <a:pathLst>
                <a:path w="12" h="14">
                  <a:moveTo>
                    <a:pt x="0" y="11"/>
                  </a:moveTo>
                  <a:lnTo>
                    <a:pt x="3" y="14"/>
                  </a:lnTo>
                  <a:lnTo>
                    <a:pt x="12" y="3"/>
                  </a:lnTo>
                  <a:lnTo>
                    <a:pt x="8"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4" name="Rectangle 130"/>
            <p:cNvSpPr>
              <a:spLocks noChangeArrowheads="1"/>
            </p:cNvSpPr>
            <p:nvPr userDrawn="1"/>
          </p:nvSpPr>
          <p:spPr bwMode="auto">
            <a:xfrm>
              <a:off x="7485364" y="4132974"/>
              <a:ext cx="14007" cy="16342"/>
            </a:xfrm>
            <a:prstGeom prst="rect">
              <a:avLst/>
            </a:prstGeom>
            <a:solidFill>
              <a:srgbClr val="2D12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5" name="Freeform 131"/>
            <p:cNvSpPr>
              <a:spLocks/>
            </p:cNvSpPr>
            <p:nvPr userDrawn="1"/>
          </p:nvSpPr>
          <p:spPr bwMode="auto">
            <a:xfrm>
              <a:off x="7753831" y="4324403"/>
              <a:ext cx="44356" cy="42021"/>
            </a:xfrm>
            <a:custGeom>
              <a:avLst/>
              <a:gdLst>
                <a:gd name="T0" fmla="*/ 19 w 19"/>
                <a:gd name="T1" fmla="*/ 14 h 18"/>
                <a:gd name="T2" fmla="*/ 10 w 19"/>
                <a:gd name="T3" fmla="*/ 0 h 18"/>
                <a:gd name="T4" fmla="*/ 0 w 19"/>
                <a:gd name="T5" fmla="*/ 13 h 18"/>
                <a:gd name="T6" fmla="*/ 15 w 19"/>
                <a:gd name="T7" fmla="*/ 18 h 18"/>
                <a:gd name="T8" fmla="*/ 19 w 19"/>
                <a:gd name="T9" fmla="*/ 14 h 18"/>
              </a:gdLst>
              <a:ahLst/>
              <a:cxnLst>
                <a:cxn ang="0">
                  <a:pos x="T0" y="T1"/>
                </a:cxn>
                <a:cxn ang="0">
                  <a:pos x="T2" y="T3"/>
                </a:cxn>
                <a:cxn ang="0">
                  <a:pos x="T4" y="T5"/>
                </a:cxn>
                <a:cxn ang="0">
                  <a:pos x="T6" y="T7"/>
                </a:cxn>
                <a:cxn ang="0">
                  <a:pos x="T8" y="T9"/>
                </a:cxn>
              </a:cxnLst>
              <a:rect l="0" t="0" r="r" b="b"/>
              <a:pathLst>
                <a:path w="19" h="18">
                  <a:moveTo>
                    <a:pt x="19" y="14"/>
                  </a:moveTo>
                  <a:lnTo>
                    <a:pt x="10" y="0"/>
                  </a:lnTo>
                  <a:lnTo>
                    <a:pt x="0" y="13"/>
                  </a:lnTo>
                  <a:lnTo>
                    <a:pt x="15" y="18"/>
                  </a:lnTo>
                  <a:lnTo>
                    <a:pt x="19" y="14"/>
                  </a:ln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6" name="Freeform 132"/>
            <p:cNvSpPr>
              <a:spLocks/>
            </p:cNvSpPr>
            <p:nvPr userDrawn="1"/>
          </p:nvSpPr>
          <p:spPr bwMode="auto">
            <a:xfrm>
              <a:off x="7753831" y="4324403"/>
              <a:ext cx="44356" cy="42021"/>
            </a:xfrm>
            <a:custGeom>
              <a:avLst/>
              <a:gdLst>
                <a:gd name="T0" fmla="*/ 19 w 19"/>
                <a:gd name="T1" fmla="*/ 14 h 18"/>
                <a:gd name="T2" fmla="*/ 10 w 19"/>
                <a:gd name="T3" fmla="*/ 0 h 18"/>
                <a:gd name="T4" fmla="*/ 0 w 19"/>
                <a:gd name="T5" fmla="*/ 13 h 18"/>
                <a:gd name="T6" fmla="*/ 15 w 19"/>
                <a:gd name="T7" fmla="*/ 18 h 18"/>
                <a:gd name="T8" fmla="*/ 19 w 19"/>
                <a:gd name="T9" fmla="*/ 14 h 18"/>
              </a:gdLst>
              <a:ahLst/>
              <a:cxnLst>
                <a:cxn ang="0">
                  <a:pos x="T0" y="T1"/>
                </a:cxn>
                <a:cxn ang="0">
                  <a:pos x="T2" y="T3"/>
                </a:cxn>
                <a:cxn ang="0">
                  <a:pos x="T4" y="T5"/>
                </a:cxn>
                <a:cxn ang="0">
                  <a:pos x="T6" y="T7"/>
                </a:cxn>
                <a:cxn ang="0">
                  <a:pos x="T8" y="T9"/>
                </a:cxn>
              </a:cxnLst>
              <a:rect l="0" t="0" r="r" b="b"/>
              <a:pathLst>
                <a:path w="19" h="18">
                  <a:moveTo>
                    <a:pt x="19" y="14"/>
                  </a:moveTo>
                  <a:lnTo>
                    <a:pt x="10" y="0"/>
                  </a:lnTo>
                  <a:lnTo>
                    <a:pt x="0" y="13"/>
                  </a:lnTo>
                  <a:lnTo>
                    <a:pt x="15" y="18"/>
                  </a:lnTo>
                  <a:lnTo>
                    <a:pt x="19"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7" name="Freeform 133"/>
            <p:cNvSpPr>
              <a:spLocks/>
            </p:cNvSpPr>
            <p:nvPr userDrawn="1"/>
          </p:nvSpPr>
          <p:spPr bwMode="auto">
            <a:xfrm>
              <a:off x="7459685" y="4097957"/>
              <a:ext cx="46690" cy="46690"/>
            </a:xfrm>
            <a:custGeom>
              <a:avLst/>
              <a:gdLst>
                <a:gd name="T0" fmla="*/ 12 w 21"/>
                <a:gd name="T1" fmla="*/ 1 h 22"/>
                <a:gd name="T2" fmla="*/ 9 w 21"/>
                <a:gd name="T3" fmla="*/ 1 h 22"/>
                <a:gd name="T4" fmla="*/ 5 w 21"/>
                <a:gd name="T5" fmla="*/ 7 h 22"/>
                <a:gd name="T6" fmla="*/ 3 w 21"/>
                <a:gd name="T7" fmla="*/ 9 h 22"/>
                <a:gd name="T8" fmla="*/ 1 w 21"/>
                <a:gd name="T9" fmla="*/ 11 h 22"/>
                <a:gd name="T10" fmla="*/ 1 w 21"/>
                <a:gd name="T11" fmla="*/ 11 h 22"/>
                <a:gd name="T12" fmla="*/ 1 w 21"/>
                <a:gd name="T13" fmla="*/ 15 h 22"/>
                <a:gd name="T14" fmla="*/ 10 w 21"/>
                <a:gd name="T15" fmla="*/ 22 h 22"/>
                <a:gd name="T16" fmla="*/ 13 w 21"/>
                <a:gd name="T17" fmla="*/ 17 h 22"/>
                <a:gd name="T18" fmla="*/ 21 w 21"/>
                <a:gd name="T19" fmla="*/ 7 h 22"/>
                <a:gd name="T20" fmla="*/ 12 w 21"/>
                <a:gd name="T21"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2">
                  <a:moveTo>
                    <a:pt x="12" y="1"/>
                  </a:moveTo>
                  <a:cubicBezTo>
                    <a:pt x="11" y="0"/>
                    <a:pt x="10" y="0"/>
                    <a:pt x="9" y="1"/>
                  </a:cubicBezTo>
                  <a:cubicBezTo>
                    <a:pt x="5" y="7"/>
                    <a:pt x="5" y="7"/>
                    <a:pt x="5" y="7"/>
                  </a:cubicBezTo>
                  <a:cubicBezTo>
                    <a:pt x="4" y="7"/>
                    <a:pt x="3" y="8"/>
                    <a:pt x="3" y="9"/>
                  </a:cubicBezTo>
                  <a:cubicBezTo>
                    <a:pt x="2" y="9"/>
                    <a:pt x="2" y="10"/>
                    <a:pt x="1" y="11"/>
                  </a:cubicBezTo>
                  <a:cubicBezTo>
                    <a:pt x="1" y="11"/>
                    <a:pt x="1" y="11"/>
                    <a:pt x="1" y="11"/>
                  </a:cubicBezTo>
                  <a:cubicBezTo>
                    <a:pt x="0" y="13"/>
                    <a:pt x="0" y="14"/>
                    <a:pt x="1" y="15"/>
                  </a:cubicBezTo>
                  <a:cubicBezTo>
                    <a:pt x="10" y="22"/>
                    <a:pt x="10" y="22"/>
                    <a:pt x="10" y="22"/>
                  </a:cubicBezTo>
                  <a:cubicBezTo>
                    <a:pt x="13" y="17"/>
                    <a:pt x="13" y="17"/>
                    <a:pt x="13" y="17"/>
                  </a:cubicBezTo>
                  <a:cubicBezTo>
                    <a:pt x="21" y="7"/>
                    <a:pt x="21" y="7"/>
                    <a:pt x="21" y="7"/>
                  </a:cubicBezTo>
                  <a:cubicBezTo>
                    <a:pt x="12" y="1"/>
                    <a:pt x="12" y="1"/>
                    <a:pt x="12" y="1"/>
                  </a:cubicBezTo>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8" name="Freeform 134"/>
            <p:cNvSpPr>
              <a:spLocks/>
            </p:cNvSpPr>
            <p:nvPr userDrawn="1"/>
          </p:nvSpPr>
          <p:spPr bwMode="auto">
            <a:xfrm>
              <a:off x="7459685" y="4116633"/>
              <a:ext cx="7004" cy="9338"/>
            </a:xfrm>
            <a:custGeom>
              <a:avLst/>
              <a:gdLst>
                <a:gd name="T0" fmla="*/ 3 w 3"/>
                <a:gd name="T1" fmla="*/ 0 h 4"/>
                <a:gd name="T2" fmla="*/ 1 w 3"/>
                <a:gd name="T3" fmla="*/ 2 h 4"/>
                <a:gd name="T4" fmla="*/ 1 w 3"/>
                <a:gd name="T5" fmla="*/ 2 h 4"/>
                <a:gd name="T6" fmla="*/ 0 w 3"/>
                <a:gd name="T7" fmla="*/ 4 h 4"/>
                <a:gd name="T8" fmla="*/ 1 w 3"/>
                <a:gd name="T9" fmla="*/ 2 h 4"/>
                <a:gd name="T10" fmla="*/ 1 w 3"/>
                <a:gd name="T11" fmla="*/ 2 h 4"/>
                <a:gd name="T12" fmla="*/ 3 w 3"/>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3" y="0"/>
                  </a:moveTo>
                  <a:cubicBezTo>
                    <a:pt x="2" y="1"/>
                    <a:pt x="2" y="1"/>
                    <a:pt x="1" y="2"/>
                  </a:cubicBezTo>
                  <a:cubicBezTo>
                    <a:pt x="1" y="2"/>
                    <a:pt x="1" y="2"/>
                    <a:pt x="1" y="2"/>
                  </a:cubicBezTo>
                  <a:cubicBezTo>
                    <a:pt x="0" y="3"/>
                    <a:pt x="0" y="3"/>
                    <a:pt x="0" y="4"/>
                  </a:cubicBezTo>
                  <a:cubicBezTo>
                    <a:pt x="0" y="3"/>
                    <a:pt x="0" y="3"/>
                    <a:pt x="1" y="2"/>
                  </a:cubicBezTo>
                  <a:cubicBezTo>
                    <a:pt x="1" y="2"/>
                    <a:pt x="1" y="2"/>
                    <a:pt x="1" y="2"/>
                  </a:cubicBezTo>
                  <a:cubicBezTo>
                    <a:pt x="2" y="1"/>
                    <a:pt x="2" y="1"/>
                    <a:pt x="3"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9" name="Freeform 135"/>
            <p:cNvSpPr>
              <a:spLocks/>
            </p:cNvSpPr>
            <p:nvPr userDrawn="1"/>
          </p:nvSpPr>
          <p:spPr bwMode="auto">
            <a:xfrm>
              <a:off x="7459685" y="4116633"/>
              <a:ext cx="30349" cy="28014"/>
            </a:xfrm>
            <a:custGeom>
              <a:avLst/>
              <a:gdLst>
                <a:gd name="T0" fmla="*/ 3 w 13"/>
                <a:gd name="T1" fmla="*/ 0 h 13"/>
                <a:gd name="T2" fmla="*/ 3 w 13"/>
                <a:gd name="T3" fmla="*/ 0 h 13"/>
                <a:gd name="T4" fmla="*/ 3 w 13"/>
                <a:gd name="T5" fmla="*/ 0 h 13"/>
                <a:gd name="T6" fmla="*/ 3 w 13"/>
                <a:gd name="T7" fmla="*/ 0 h 13"/>
                <a:gd name="T8" fmla="*/ 1 w 13"/>
                <a:gd name="T9" fmla="*/ 2 h 13"/>
                <a:gd name="T10" fmla="*/ 1 w 13"/>
                <a:gd name="T11" fmla="*/ 2 h 13"/>
                <a:gd name="T12" fmla="*/ 0 w 13"/>
                <a:gd name="T13" fmla="*/ 4 h 13"/>
                <a:gd name="T14" fmla="*/ 1 w 13"/>
                <a:gd name="T15" fmla="*/ 6 h 13"/>
                <a:gd name="T16" fmla="*/ 10 w 13"/>
                <a:gd name="T17" fmla="*/ 13 h 13"/>
                <a:gd name="T18" fmla="*/ 13 w 13"/>
                <a:gd name="T19" fmla="*/ 8 h 13"/>
                <a:gd name="T20" fmla="*/ 3 w 1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3" y="0"/>
                  </a:moveTo>
                  <a:cubicBezTo>
                    <a:pt x="3" y="0"/>
                    <a:pt x="3" y="0"/>
                    <a:pt x="3" y="0"/>
                  </a:cubicBezTo>
                  <a:cubicBezTo>
                    <a:pt x="3" y="0"/>
                    <a:pt x="3" y="0"/>
                    <a:pt x="3" y="0"/>
                  </a:cubicBezTo>
                  <a:cubicBezTo>
                    <a:pt x="3" y="0"/>
                    <a:pt x="3" y="0"/>
                    <a:pt x="3" y="0"/>
                  </a:cubicBezTo>
                  <a:cubicBezTo>
                    <a:pt x="2" y="1"/>
                    <a:pt x="2" y="1"/>
                    <a:pt x="1" y="2"/>
                  </a:cubicBezTo>
                  <a:cubicBezTo>
                    <a:pt x="1" y="2"/>
                    <a:pt x="1" y="2"/>
                    <a:pt x="1" y="2"/>
                  </a:cubicBezTo>
                  <a:cubicBezTo>
                    <a:pt x="0" y="3"/>
                    <a:pt x="0" y="3"/>
                    <a:pt x="0" y="4"/>
                  </a:cubicBezTo>
                  <a:cubicBezTo>
                    <a:pt x="0" y="5"/>
                    <a:pt x="1" y="6"/>
                    <a:pt x="1" y="6"/>
                  </a:cubicBezTo>
                  <a:cubicBezTo>
                    <a:pt x="10" y="13"/>
                    <a:pt x="10" y="13"/>
                    <a:pt x="10" y="13"/>
                  </a:cubicBezTo>
                  <a:cubicBezTo>
                    <a:pt x="13" y="8"/>
                    <a:pt x="13" y="8"/>
                    <a:pt x="13" y="8"/>
                  </a:cubicBezTo>
                  <a:cubicBezTo>
                    <a:pt x="3" y="0"/>
                    <a:pt x="3" y="0"/>
                    <a:pt x="3" y="0"/>
                  </a:cubicBezTo>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0" name="Freeform 136"/>
            <p:cNvSpPr>
              <a:spLocks/>
            </p:cNvSpPr>
            <p:nvPr userDrawn="1"/>
          </p:nvSpPr>
          <p:spPr bwMode="auto">
            <a:xfrm>
              <a:off x="7490033" y="4142312"/>
              <a:ext cx="270803" cy="212439"/>
            </a:xfrm>
            <a:custGeom>
              <a:avLst/>
              <a:gdLst>
                <a:gd name="T0" fmla="*/ 4 w 116"/>
                <a:gd name="T1" fmla="*/ 0 h 91"/>
                <a:gd name="T2" fmla="*/ 1 w 116"/>
                <a:gd name="T3" fmla="*/ 3 h 91"/>
                <a:gd name="T4" fmla="*/ 1 w 116"/>
                <a:gd name="T5" fmla="*/ 3 h 91"/>
                <a:gd name="T6" fmla="*/ 0 w 116"/>
                <a:gd name="T7" fmla="*/ 4 h 91"/>
                <a:gd name="T8" fmla="*/ 113 w 116"/>
                <a:gd name="T9" fmla="*/ 91 h 91"/>
                <a:gd name="T10" fmla="*/ 116 w 116"/>
                <a:gd name="T11" fmla="*/ 87 h 91"/>
                <a:gd name="T12" fmla="*/ 4 w 116"/>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116" h="91">
                  <a:moveTo>
                    <a:pt x="4" y="0"/>
                  </a:moveTo>
                  <a:lnTo>
                    <a:pt x="1" y="3"/>
                  </a:lnTo>
                  <a:lnTo>
                    <a:pt x="1" y="3"/>
                  </a:lnTo>
                  <a:lnTo>
                    <a:pt x="0" y="4"/>
                  </a:lnTo>
                  <a:lnTo>
                    <a:pt x="113" y="91"/>
                  </a:lnTo>
                  <a:lnTo>
                    <a:pt x="116" y="87"/>
                  </a:lnTo>
                  <a:lnTo>
                    <a:pt x="4" y="0"/>
                  </a:lnTo>
                  <a:close/>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1" name="Freeform 137"/>
            <p:cNvSpPr>
              <a:spLocks/>
            </p:cNvSpPr>
            <p:nvPr userDrawn="1"/>
          </p:nvSpPr>
          <p:spPr bwMode="auto">
            <a:xfrm>
              <a:off x="7490033" y="4142312"/>
              <a:ext cx="270803" cy="212439"/>
            </a:xfrm>
            <a:custGeom>
              <a:avLst/>
              <a:gdLst>
                <a:gd name="T0" fmla="*/ 4 w 116"/>
                <a:gd name="T1" fmla="*/ 0 h 91"/>
                <a:gd name="T2" fmla="*/ 1 w 116"/>
                <a:gd name="T3" fmla="*/ 3 h 91"/>
                <a:gd name="T4" fmla="*/ 1 w 116"/>
                <a:gd name="T5" fmla="*/ 3 h 91"/>
                <a:gd name="T6" fmla="*/ 0 w 116"/>
                <a:gd name="T7" fmla="*/ 4 h 91"/>
                <a:gd name="T8" fmla="*/ 113 w 116"/>
                <a:gd name="T9" fmla="*/ 91 h 91"/>
                <a:gd name="T10" fmla="*/ 116 w 116"/>
                <a:gd name="T11" fmla="*/ 87 h 91"/>
                <a:gd name="T12" fmla="*/ 4 w 116"/>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116" h="91">
                  <a:moveTo>
                    <a:pt x="4" y="0"/>
                  </a:moveTo>
                  <a:lnTo>
                    <a:pt x="1" y="3"/>
                  </a:lnTo>
                  <a:lnTo>
                    <a:pt x="1" y="3"/>
                  </a:lnTo>
                  <a:lnTo>
                    <a:pt x="0" y="4"/>
                  </a:lnTo>
                  <a:lnTo>
                    <a:pt x="113" y="91"/>
                  </a:lnTo>
                  <a:lnTo>
                    <a:pt x="116" y="87"/>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2" name="Freeform 138"/>
            <p:cNvSpPr>
              <a:spLocks/>
            </p:cNvSpPr>
            <p:nvPr userDrawn="1"/>
          </p:nvSpPr>
          <p:spPr bwMode="auto">
            <a:xfrm>
              <a:off x="7492368" y="4142312"/>
              <a:ext cx="7004" cy="7004"/>
            </a:xfrm>
            <a:custGeom>
              <a:avLst/>
              <a:gdLst>
                <a:gd name="T0" fmla="*/ 3 w 3"/>
                <a:gd name="T1" fmla="*/ 0 h 3"/>
                <a:gd name="T2" fmla="*/ 0 w 3"/>
                <a:gd name="T3" fmla="*/ 3 h 3"/>
                <a:gd name="T4" fmla="*/ 0 w 3"/>
                <a:gd name="T5" fmla="*/ 3 h 3"/>
                <a:gd name="T6" fmla="*/ 3 w 3"/>
                <a:gd name="T7" fmla="*/ 0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lnTo>
                    <a:pt x="0" y="3"/>
                  </a:lnTo>
                  <a:lnTo>
                    <a:pt x="0" y="3"/>
                  </a:lnTo>
                  <a:lnTo>
                    <a:pt x="3" y="0"/>
                  </a:lnTo>
                  <a:lnTo>
                    <a:pt x="3" y="0"/>
                  </a:lnTo>
                  <a:close/>
                </a:path>
              </a:pathLst>
            </a:custGeom>
            <a:solidFill>
              <a:srgbClr val="281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3" name="Freeform 139"/>
            <p:cNvSpPr>
              <a:spLocks/>
            </p:cNvSpPr>
            <p:nvPr userDrawn="1"/>
          </p:nvSpPr>
          <p:spPr bwMode="auto">
            <a:xfrm>
              <a:off x="7492368" y="4142312"/>
              <a:ext cx="7004" cy="7004"/>
            </a:xfrm>
            <a:custGeom>
              <a:avLst/>
              <a:gdLst>
                <a:gd name="T0" fmla="*/ 3 w 3"/>
                <a:gd name="T1" fmla="*/ 0 h 3"/>
                <a:gd name="T2" fmla="*/ 0 w 3"/>
                <a:gd name="T3" fmla="*/ 3 h 3"/>
                <a:gd name="T4" fmla="*/ 0 w 3"/>
                <a:gd name="T5" fmla="*/ 3 h 3"/>
                <a:gd name="T6" fmla="*/ 3 w 3"/>
                <a:gd name="T7" fmla="*/ 0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lnTo>
                    <a:pt x="0" y="3"/>
                  </a:lnTo>
                  <a:lnTo>
                    <a:pt x="0" y="3"/>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4" name="Freeform 140"/>
            <p:cNvSpPr>
              <a:spLocks/>
            </p:cNvSpPr>
            <p:nvPr userDrawn="1"/>
          </p:nvSpPr>
          <p:spPr bwMode="auto">
            <a:xfrm>
              <a:off x="7753831" y="4345415"/>
              <a:ext cx="7004" cy="9338"/>
            </a:xfrm>
            <a:custGeom>
              <a:avLst/>
              <a:gdLst>
                <a:gd name="T0" fmla="*/ 3 w 3"/>
                <a:gd name="T1" fmla="*/ 0 h 4"/>
                <a:gd name="T2" fmla="*/ 0 w 3"/>
                <a:gd name="T3" fmla="*/ 4 h 4"/>
                <a:gd name="T4" fmla="*/ 3 w 3"/>
                <a:gd name="T5" fmla="*/ 0 h 4"/>
                <a:gd name="T6" fmla="*/ 3 w 3"/>
                <a:gd name="T7" fmla="*/ 0 h 4"/>
              </a:gdLst>
              <a:ahLst/>
              <a:cxnLst>
                <a:cxn ang="0">
                  <a:pos x="T0" y="T1"/>
                </a:cxn>
                <a:cxn ang="0">
                  <a:pos x="T2" y="T3"/>
                </a:cxn>
                <a:cxn ang="0">
                  <a:pos x="T4" y="T5"/>
                </a:cxn>
                <a:cxn ang="0">
                  <a:pos x="T6" y="T7"/>
                </a:cxn>
              </a:cxnLst>
              <a:rect l="0" t="0" r="r" b="b"/>
              <a:pathLst>
                <a:path w="3" h="4">
                  <a:moveTo>
                    <a:pt x="3" y="0"/>
                  </a:moveTo>
                  <a:lnTo>
                    <a:pt x="0" y="4"/>
                  </a:lnTo>
                  <a:lnTo>
                    <a:pt x="3" y="0"/>
                  </a:lnTo>
                  <a:lnTo>
                    <a:pt x="3" y="0"/>
                  </a:lnTo>
                  <a:close/>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5" name="Freeform 141"/>
            <p:cNvSpPr>
              <a:spLocks/>
            </p:cNvSpPr>
            <p:nvPr userDrawn="1"/>
          </p:nvSpPr>
          <p:spPr bwMode="auto">
            <a:xfrm>
              <a:off x="7753831" y="4345415"/>
              <a:ext cx="7004" cy="9338"/>
            </a:xfrm>
            <a:custGeom>
              <a:avLst/>
              <a:gdLst>
                <a:gd name="T0" fmla="*/ 3 w 3"/>
                <a:gd name="T1" fmla="*/ 0 h 4"/>
                <a:gd name="T2" fmla="*/ 0 w 3"/>
                <a:gd name="T3" fmla="*/ 4 h 4"/>
                <a:gd name="T4" fmla="*/ 3 w 3"/>
                <a:gd name="T5" fmla="*/ 0 h 4"/>
                <a:gd name="T6" fmla="*/ 3 w 3"/>
                <a:gd name="T7" fmla="*/ 0 h 4"/>
              </a:gdLst>
              <a:ahLst/>
              <a:cxnLst>
                <a:cxn ang="0">
                  <a:pos x="T0" y="T1"/>
                </a:cxn>
                <a:cxn ang="0">
                  <a:pos x="T2" y="T3"/>
                </a:cxn>
                <a:cxn ang="0">
                  <a:pos x="T4" y="T5"/>
                </a:cxn>
                <a:cxn ang="0">
                  <a:pos x="T6" y="T7"/>
                </a:cxn>
              </a:cxnLst>
              <a:rect l="0" t="0" r="r" b="b"/>
              <a:pathLst>
                <a:path w="3" h="4">
                  <a:moveTo>
                    <a:pt x="3" y="0"/>
                  </a:moveTo>
                  <a:lnTo>
                    <a:pt x="0" y="4"/>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6" name="Freeform 142"/>
            <p:cNvSpPr>
              <a:spLocks/>
            </p:cNvSpPr>
            <p:nvPr userDrawn="1"/>
          </p:nvSpPr>
          <p:spPr bwMode="auto">
            <a:xfrm>
              <a:off x="7690799" y="4252033"/>
              <a:ext cx="42021" cy="35018"/>
            </a:xfrm>
            <a:custGeom>
              <a:avLst/>
              <a:gdLst>
                <a:gd name="T0" fmla="*/ 16 w 18"/>
                <a:gd name="T1" fmla="*/ 15 h 15"/>
                <a:gd name="T2" fmla="*/ 0 w 18"/>
                <a:gd name="T3" fmla="*/ 2 h 15"/>
                <a:gd name="T4" fmla="*/ 2 w 18"/>
                <a:gd name="T5" fmla="*/ 0 h 15"/>
                <a:gd name="T6" fmla="*/ 18 w 18"/>
                <a:gd name="T7" fmla="*/ 13 h 15"/>
                <a:gd name="T8" fmla="*/ 16 w 18"/>
                <a:gd name="T9" fmla="*/ 15 h 15"/>
              </a:gdLst>
              <a:ahLst/>
              <a:cxnLst>
                <a:cxn ang="0">
                  <a:pos x="T0" y="T1"/>
                </a:cxn>
                <a:cxn ang="0">
                  <a:pos x="T2" y="T3"/>
                </a:cxn>
                <a:cxn ang="0">
                  <a:pos x="T4" y="T5"/>
                </a:cxn>
                <a:cxn ang="0">
                  <a:pos x="T6" y="T7"/>
                </a:cxn>
                <a:cxn ang="0">
                  <a:pos x="T8" y="T9"/>
                </a:cxn>
              </a:cxnLst>
              <a:rect l="0" t="0" r="r" b="b"/>
              <a:pathLst>
                <a:path w="18" h="15">
                  <a:moveTo>
                    <a:pt x="16" y="15"/>
                  </a:moveTo>
                  <a:lnTo>
                    <a:pt x="0" y="2"/>
                  </a:lnTo>
                  <a:lnTo>
                    <a:pt x="2" y="0"/>
                  </a:lnTo>
                  <a:lnTo>
                    <a:pt x="18" y="13"/>
                  </a:lnTo>
                  <a:lnTo>
                    <a:pt x="16" y="15"/>
                  </a:ln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7" name="Freeform 143"/>
            <p:cNvSpPr>
              <a:spLocks/>
            </p:cNvSpPr>
            <p:nvPr userDrawn="1"/>
          </p:nvSpPr>
          <p:spPr bwMode="auto">
            <a:xfrm>
              <a:off x="7690799" y="4252033"/>
              <a:ext cx="42021" cy="35018"/>
            </a:xfrm>
            <a:custGeom>
              <a:avLst/>
              <a:gdLst>
                <a:gd name="T0" fmla="*/ 16 w 18"/>
                <a:gd name="T1" fmla="*/ 15 h 15"/>
                <a:gd name="T2" fmla="*/ 0 w 18"/>
                <a:gd name="T3" fmla="*/ 2 h 15"/>
                <a:gd name="T4" fmla="*/ 2 w 18"/>
                <a:gd name="T5" fmla="*/ 0 h 15"/>
                <a:gd name="T6" fmla="*/ 18 w 18"/>
                <a:gd name="T7" fmla="*/ 13 h 15"/>
                <a:gd name="T8" fmla="*/ 16 w 18"/>
                <a:gd name="T9" fmla="*/ 15 h 15"/>
              </a:gdLst>
              <a:ahLst/>
              <a:cxnLst>
                <a:cxn ang="0">
                  <a:pos x="T0" y="T1"/>
                </a:cxn>
                <a:cxn ang="0">
                  <a:pos x="T2" y="T3"/>
                </a:cxn>
                <a:cxn ang="0">
                  <a:pos x="T4" y="T5"/>
                </a:cxn>
                <a:cxn ang="0">
                  <a:pos x="T6" y="T7"/>
                </a:cxn>
                <a:cxn ang="0">
                  <a:pos x="T8" y="T9"/>
                </a:cxn>
              </a:cxnLst>
              <a:rect l="0" t="0" r="r" b="b"/>
              <a:pathLst>
                <a:path w="18" h="15">
                  <a:moveTo>
                    <a:pt x="16" y="15"/>
                  </a:moveTo>
                  <a:lnTo>
                    <a:pt x="0" y="2"/>
                  </a:lnTo>
                  <a:lnTo>
                    <a:pt x="2" y="0"/>
                  </a:lnTo>
                  <a:lnTo>
                    <a:pt x="18" y="13"/>
                  </a:lnTo>
                  <a:lnTo>
                    <a:pt x="16"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8" name="Freeform 144"/>
            <p:cNvSpPr>
              <a:spLocks/>
            </p:cNvSpPr>
            <p:nvPr userDrawn="1"/>
          </p:nvSpPr>
          <p:spPr bwMode="auto">
            <a:xfrm>
              <a:off x="7728151" y="4284718"/>
              <a:ext cx="2335" cy="2335"/>
            </a:xfrm>
            <a:custGeom>
              <a:avLst/>
              <a:gdLst>
                <a:gd name="T0" fmla="*/ 1 w 1"/>
                <a:gd name="T1" fmla="*/ 0 h 1"/>
                <a:gd name="T2" fmla="*/ 0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lnTo>
                    <a:pt x="0" y="1"/>
                  </a:lnTo>
                  <a:lnTo>
                    <a:pt x="1" y="0"/>
                  </a:lnTo>
                  <a:lnTo>
                    <a:pt x="1" y="0"/>
                  </a:lnTo>
                  <a:close/>
                </a:path>
              </a:pathLst>
            </a:custGeom>
            <a:solidFill>
              <a:srgbClr val="E5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9" name="Freeform 145"/>
            <p:cNvSpPr>
              <a:spLocks/>
            </p:cNvSpPr>
            <p:nvPr userDrawn="1"/>
          </p:nvSpPr>
          <p:spPr bwMode="auto">
            <a:xfrm>
              <a:off x="7728151" y="4284718"/>
              <a:ext cx="2335" cy="2335"/>
            </a:xfrm>
            <a:custGeom>
              <a:avLst/>
              <a:gdLst>
                <a:gd name="T0" fmla="*/ 1 w 1"/>
                <a:gd name="T1" fmla="*/ 0 h 1"/>
                <a:gd name="T2" fmla="*/ 0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lnTo>
                    <a:pt x="0" y="1"/>
                  </a:lnTo>
                  <a:lnTo>
                    <a:pt x="1"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0" name="Rectangle 146"/>
            <p:cNvSpPr>
              <a:spLocks noChangeArrowheads="1"/>
            </p:cNvSpPr>
            <p:nvPr userDrawn="1"/>
          </p:nvSpPr>
          <p:spPr bwMode="auto">
            <a:xfrm>
              <a:off x="7730487" y="4282383"/>
              <a:ext cx="2335" cy="2335"/>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1" name="Freeform 147"/>
            <p:cNvSpPr>
              <a:spLocks/>
            </p:cNvSpPr>
            <p:nvPr userDrawn="1"/>
          </p:nvSpPr>
          <p:spPr bwMode="auto">
            <a:xfrm>
              <a:off x="7730487" y="4282383"/>
              <a:ext cx="0" cy="2335"/>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lnTo>
                    <a:pt x="0" y="1"/>
                  </a:lnTo>
                  <a:lnTo>
                    <a:pt x="0"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2" name="Freeform 148"/>
            <p:cNvSpPr>
              <a:spLocks/>
            </p:cNvSpPr>
            <p:nvPr userDrawn="1"/>
          </p:nvSpPr>
          <p:spPr bwMode="auto">
            <a:xfrm>
              <a:off x="7690799" y="4254369"/>
              <a:ext cx="39687" cy="32683"/>
            </a:xfrm>
            <a:custGeom>
              <a:avLst/>
              <a:gdLst>
                <a:gd name="T0" fmla="*/ 1 w 17"/>
                <a:gd name="T1" fmla="*/ 0 h 14"/>
                <a:gd name="T2" fmla="*/ 0 w 17"/>
                <a:gd name="T3" fmla="*/ 1 h 14"/>
                <a:gd name="T4" fmla="*/ 16 w 17"/>
                <a:gd name="T5" fmla="*/ 14 h 14"/>
                <a:gd name="T6" fmla="*/ 17 w 17"/>
                <a:gd name="T7" fmla="*/ 13 h 14"/>
                <a:gd name="T8" fmla="*/ 17 w 17"/>
                <a:gd name="T9" fmla="*/ 12 h 14"/>
                <a:gd name="T10" fmla="*/ 1 w 17"/>
                <a:gd name="T11" fmla="*/ 0 h 14"/>
              </a:gdLst>
              <a:ahLst/>
              <a:cxnLst>
                <a:cxn ang="0">
                  <a:pos x="T0" y="T1"/>
                </a:cxn>
                <a:cxn ang="0">
                  <a:pos x="T2" y="T3"/>
                </a:cxn>
                <a:cxn ang="0">
                  <a:pos x="T4" y="T5"/>
                </a:cxn>
                <a:cxn ang="0">
                  <a:pos x="T6" y="T7"/>
                </a:cxn>
                <a:cxn ang="0">
                  <a:pos x="T8" y="T9"/>
                </a:cxn>
                <a:cxn ang="0">
                  <a:pos x="T10" y="T11"/>
                </a:cxn>
              </a:cxnLst>
              <a:rect l="0" t="0" r="r" b="b"/>
              <a:pathLst>
                <a:path w="17" h="14">
                  <a:moveTo>
                    <a:pt x="1" y="0"/>
                  </a:moveTo>
                  <a:lnTo>
                    <a:pt x="0" y="1"/>
                  </a:lnTo>
                  <a:lnTo>
                    <a:pt x="16" y="14"/>
                  </a:lnTo>
                  <a:lnTo>
                    <a:pt x="17" y="13"/>
                  </a:lnTo>
                  <a:lnTo>
                    <a:pt x="17" y="12"/>
                  </a:lnTo>
                  <a:lnTo>
                    <a:pt x="1" y="0"/>
                  </a:lnTo>
                  <a:close/>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3" name="Freeform 149"/>
            <p:cNvSpPr>
              <a:spLocks/>
            </p:cNvSpPr>
            <p:nvPr userDrawn="1"/>
          </p:nvSpPr>
          <p:spPr bwMode="auto">
            <a:xfrm>
              <a:off x="7690799" y="4254369"/>
              <a:ext cx="39687" cy="32683"/>
            </a:xfrm>
            <a:custGeom>
              <a:avLst/>
              <a:gdLst>
                <a:gd name="T0" fmla="*/ 1 w 17"/>
                <a:gd name="T1" fmla="*/ 0 h 14"/>
                <a:gd name="T2" fmla="*/ 0 w 17"/>
                <a:gd name="T3" fmla="*/ 1 h 14"/>
                <a:gd name="T4" fmla="*/ 16 w 17"/>
                <a:gd name="T5" fmla="*/ 14 h 14"/>
                <a:gd name="T6" fmla="*/ 17 w 17"/>
                <a:gd name="T7" fmla="*/ 13 h 14"/>
                <a:gd name="T8" fmla="*/ 17 w 17"/>
                <a:gd name="T9" fmla="*/ 12 h 14"/>
                <a:gd name="T10" fmla="*/ 1 w 17"/>
                <a:gd name="T11" fmla="*/ 0 h 14"/>
              </a:gdLst>
              <a:ahLst/>
              <a:cxnLst>
                <a:cxn ang="0">
                  <a:pos x="T0" y="T1"/>
                </a:cxn>
                <a:cxn ang="0">
                  <a:pos x="T2" y="T3"/>
                </a:cxn>
                <a:cxn ang="0">
                  <a:pos x="T4" y="T5"/>
                </a:cxn>
                <a:cxn ang="0">
                  <a:pos x="T6" y="T7"/>
                </a:cxn>
                <a:cxn ang="0">
                  <a:pos x="T8" y="T9"/>
                </a:cxn>
                <a:cxn ang="0">
                  <a:pos x="T10" y="T11"/>
                </a:cxn>
              </a:cxnLst>
              <a:rect l="0" t="0" r="r" b="b"/>
              <a:pathLst>
                <a:path w="17" h="14">
                  <a:moveTo>
                    <a:pt x="1" y="0"/>
                  </a:moveTo>
                  <a:lnTo>
                    <a:pt x="0" y="1"/>
                  </a:lnTo>
                  <a:lnTo>
                    <a:pt x="16" y="14"/>
                  </a:lnTo>
                  <a:lnTo>
                    <a:pt x="17" y="13"/>
                  </a:lnTo>
                  <a:lnTo>
                    <a:pt x="17" y="12"/>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1" name="Freeform 157"/>
            <p:cNvSpPr>
              <a:spLocks/>
            </p:cNvSpPr>
            <p:nvPr userDrawn="1"/>
          </p:nvSpPr>
          <p:spPr bwMode="auto">
            <a:xfrm>
              <a:off x="6670625" y="2669245"/>
              <a:ext cx="756377" cy="515925"/>
            </a:xfrm>
            <a:custGeom>
              <a:avLst/>
              <a:gdLst>
                <a:gd name="T0" fmla="*/ 331 w 345"/>
                <a:gd name="T1" fmla="*/ 31 h 236"/>
                <a:gd name="T2" fmla="*/ 35 w 345"/>
                <a:gd name="T3" fmla="*/ 1 h 236"/>
                <a:gd name="T4" fmla="*/ 18 w 345"/>
                <a:gd name="T5" fmla="*/ 15 h 236"/>
                <a:gd name="T6" fmla="*/ 1 w 345"/>
                <a:gd name="T7" fmla="*/ 189 h 236"/>
                <a:gd name="T8" fmla="*/ 15 w 345"/>
                <a:gd name="T9" fmla="*/ 206 h 236"/>
                <a:gd name="T10" fmla="*/ 310 w 345"/>
                <a:gd name="T11" fmla="*/ 235 h 236"/>
                <a:gd name="T12" fmla="*/ 327 w 345"/>
                <a:gd name="T13" fmla="*/ 222 h 236"/>
                <a:gd name="T14" fmla="*/ 344 w 345"/>
                <a:gd name="T15" fmla="*/ 48 h 236"/>
                <a:gd name="T16" fmla="*/ 331 w 345"/>
                <a:gd name="T17" fmla="*/ 3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236">
                  <a:moveTo>
                    <a:pt x="331" y="31"/>
                  </a:moveTo>
                  <a:cubicBezTo>
                    <a:pt x="35" y="1"/>
                    <a:pt x="35" y="1"/>
                    <a:pt x="35" y="1"/>
                  </a:cubicBezTo>
                  <a:cubicBezTo>
                    <a:pt x="27" y="0"/>
                    <a:pt x="19" y="6"/>
                    <a:pt x="18" y="15"/>
                  </a:cubicBezTo>
                  <a:cubicBezTo>
                    <a:pt x="1" y="189"/>
                    <a:pt x="1" y="189"/>
                    <a:pt x="1" y="189"/>
                  </a:cubicBezTo>
                  <a:cubicBezTo>
                    <a:pt x="0" y="197"/>
                    <a:pt x="6" y="205"/>
                    <a:pt x="15" y="206"/>
                  </a:cubicBezTo>
                  <a:cubicBezTo>
                    <a:pt x="310" y="235"/>
                    <a:pt x="310" y="235"/>
                    <a:pt x="310" y="235"/>
                  </a:cubicBezTo>
                  <a:cubicBezTo>
                    <a:pt x="318" y="236"/>
                    <a:pt x="326" y="230"/>
                    <a:pt x="327" y="222"/>
                  </a:cubicBezTo>
                  <a:cubicBezTo>
                    <a:pt x="344" y="48"/>
                    <a:pt x="344" y="48"/>
                    <a:pt x="344" y="48"/>
                  </a:cubicBezTo>
                  <a:cubicBezTo>
                    <a:pt x="345" y="39"/>
                    <a:pt x="339" y="31"/>
                    <a:pt x="331" y="31"/>
                  </a:cubicBez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2" name="Freeform 158"/>
            <p:cNvSpPr>
              <a:spLocks/>
            </p:cNvSpPr>
            <p:nvPr userDrawn="1"/>
          </p:nvSpPr>
          <p:spPr bwMode="auto">
            <a:xfrm>
              <a:off x="7319616" y="2734611"/>
              <a:ext cx="107387" cy="450559"/>
            </a:xfrm>
            <a:custGeom>
              <a:avLst/>
              <a:gdLst>
                <a:gd name="T0" fmla="*/ 17 w 49"/>
                <a:gd name="T1" fmla="*/ 191 h 207"/>
                <a:gd name="T2" fmla="*/ 35 w 49"/>
                <a:gd name="T3" fmla="*/ 17 h 207"/>
                <a:gd name="T4" fmla="*/ 21 w 49"/>
                <a:gd name="T5" fmla="*/ 0 h 207"/>
                <a:gd name="T6" fmla="*/ 35 w 49"/>
                <a:gd name="T7" fmla="*/ 2 h 207"/>
                <a:gd name="T8" fmla="*/ 48 w 49"/>
                <a:gd name="T9" fmla="*/ 19 h 207"/>
                <a:gd name="T10" fmla="*/ 31 w 49"/>
                <a:gd name="T11" fmla="*/ 193 h 207"/>
                <a:gd name="T12" fmla="*/ 14 w 49"/>
                <a:gd name="T13" fmla="*/ 206 h 207"/>
                <a:gd name="T14" fmla="*/ 0 w 49"/>
                <a:gd name="T15" fmla="*/ 205 h 207"/>
                <a:gd name="T16" fmla="*/ 17 w 49"/>
                <a:gd name="T17" fmla="*/ 19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07">
                  <a:moveTo>
                    <a:pt x="17" y="191"/>
                  </a:moveTo>
                  <a:cubicBezTo>
                    <a:pt x="35" y="17"/>
                    <a:pt x="35" y="17"/>
                    <a:pt x="35" y="17"/>
                  </a:cubicBezTo>
                  <a:cubicBezTo>
                    <a:pt x="36" y="9"/>
                    <a:pt x="30" y="1"/>
                    <a:pt x="21" y="0"/>
                  </a:cubicBezTo>
                  <a:cubicBezTo>
                    <a:pt x="35" y="2"/>
                    <a:pt x="35" y="2"/>
                    <a:pt x="35" y="2"/>
                  </a:cubicBezTo>
                  <a:cubicBezTo>
                    <a:pt x="43" y="2"/>
                    <a:pt x="49" y="10"/>
                    <a:pt x="48" y="19"/>
                  </a:cubicBezTo>
                  <a:cubicBezTo>
                    <a:pt x="31" y="193"/>
                    <a:pt x="31" y="193"/>
                    <a:pt x="31" y="193"/>
                  </a:cubicBezTo>
                  <a:cubicBezTo>
                    <a:pt x="30" y="201"/>
                    <a:pt x="22" y="207"/>
                    <a:pt x="14" y="206"/>
                  </a:cubicBezTo>
                  <a:cubicBezTo>
                    <a:pt x="0" y="205"/>
                    <a:pt x="0" y="205"/>
                    <a:pt x="0" y="205"/>
                  </a:cubicBezTo>
                  <a:cubicBezTo>
                    <a:pt x="9" y="206"/>
                    <a:pt x="16" y="200"/>
                    <a:pt x="17" y="191"/>
                  </a:cubicBez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3" name="Freeform 159"/>
            <p:cNvSpPr>
              <a:spLocks/>
            </p:cNvSpPr>
            <p:nvPr userDrawn="1"/>
          </p:nvSpPr>
          <p:spPr bwMode="auto">
            <a:xfrm>
              <a:off x="6670625" y="3077781"/>
              <a:ext cx="716692" cy="109722"/>
            </a:xfrm>
            <a:custGeom>
              <a:avLst/>
              <a:gdLst>
                <a:gd name="T0" fmla="*/ 1 w 307"/>
                <a:gd name="T1" fmla="*/ 0 h 47"/>
                <a:gd name="T2" fmla="*/ 307 w 307"/>
                <a:gd name="T3" fmla="*/ 31 h 47"/>
                <a:gd name="T4" fmla="*/ 305 w 307"/>
                <a:gd name="T5" fmla="*/ 47 h 47"/>
                <a:gd name="T6" fmla="*/ 0 w 307"/>
                <a:gd name="T7" fmla="*/ 16 h 47"/>
                <a:gd name="T8" fmla="*/ 1 w 307"/>
                <a:gd name="T9" fmla="*/ 0 h 47"/>
              </a:gdLst>
              <a:ahLst/>
              <a:cxnLst>
                <a:cxn ang="0">
                  <a:pos x="T0" y="T1"/>
                </a:cxn>
                <a:cxn ang="0">
                  <a:pos x="T2" y="T3"/>
                </a:cxn>
                <a:cxn ang="0">
                  <a:pos x="T4" y="T5"/>
                </a:cxn>
                <a:cxn ang="0">
                  <a:pos x="T6" y="T7"/>
                </a:cxn>
                <a:cxn ang="0">
                  <a:pos x="T8" y="T9"/>
                </a:cxn>
              </a:cxnLst>
              <a:rect l="0" t="0" r="r" b="b"/>
              <a:pathLst>
                <a:path w="307" h="47">
                  <a:moveTo>
                    <a:pt x="1" y="0"/>
                  </a:moveTo>
                  <a:lnTo>
                    <a:pt x="307" y="31"/>
                  </a:lnTo>
                  <a:lnTo>
                    <a:pt x="305" y="47"/>
                  </a:lnTo>
                  <a:lnTo>
                    <a:pt x="0" y="16"/>
                  </a:lnTo>
                  <a:lnTo>
                    <a:pt x="1" y="0"/>
                  </a:lnTo>
                  <a:close/>
                </a:path>
              </a:pathLst>
            </a:custGeom>
            <a:solidFill>
              <a:srgbClr val="7070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4" name="Freeform 160"/>
            <p:cNvSpPr>
              <a:spLocks/>
            </p:cNvSpPr>
            <p:nvPr userDrawn="1"/>
          </p:nvSpPr>
          <p:spPr bwMode="auto">
            <a:xfrm>
              <a:off x="7023134" y="2898025"/>
              <a:ext cx="28014" cy="28014"/>
            </a:xfrm>
            <a:custGeom>
              <a:avLst/>
              <a:gdLst>
                <a:gd name="T0" fmla="*/ 0 w 12"/>
                <a:gd name="T1" fmla="*/ 11 h 12"/>
                <a:gd name="T2" fmla="*/ 11 w 12"/>
                <a:gd name="T3" fmla="*/ 12 h 12"/>
                <a:gd name="T4" fmla="*/ 12 w 12"/>
                <a:gd name="T5" fmla="*/ 1 h 12"/>
                <a:gd name="T6" fmla="*/ 1 w 12"/>
                <a:gd name="T7" fmla="*/ 0 h 12"/>
                <a:gd name="T8" fmla="*/ 0 w 12"/>
                <a:gd name="T9" fmla="*/ 11 h 12"/>
              </a:gdLst>
              <a:ahLst/>
              <a:cxnLst>
                <a:cxn ang="0">
                  <a:pos x="T0" y="T1"/>
                </a:cxn>
                <a:cxn ang="0">
                  <a:pos x="T2" y="T3"/>
                </a:cxn>
                <a:cxn ang="0">
                  <a:pos x="T4" y="T5"/>
                </a:cxn>
                <a:cxn ang="0">
                  <a:pos x="T6" y="T7"/>
                </a:cxn>
                <a:cxn ang="0">
                  <a:pos x="T8" y="T9"/>
                </a:cxn>
              </a:cxnLst>
              <a:rect l="0" t="0" r="r" b="b"/>
              <a:pathLst>
                <a:path w="12" h="12">
                  <a:moveTo>
                    <a:pt x="0" y="11"/>
                  </a:moveTo>
                  <a:lnTo>
                    <a:pt x="11" y="12"/>
                  </a:lnTo>
                  <a:lnTo>
                    <a:pt x="12" y="1"/>
                  </a:lnTo>
                  <a:lnTo>
                    <a:pt x="1" y="0"/>
                  </a:lnTo>
                  <a:lnTo>
                    <a:pt x="0" y="11"/>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5" name="Freeform 161"/>
            <p:cNvSpPr>
              <a:spLocks/>
            </p:cNvSpPr>
            <p:nvPr userDrawn="1"/>
          </p:nvSpPr>
          <p:spPr bwMode="auto">
            <a:xfrm>
              <a:off x="7051148" y="2900358"/>
              <a:ext cx="28014" cy="30349"/>
            </a:xfrm>
            <a:custGeom>
              <a:avLst/>
              <a:gdLst>
                <a:gd name="T0" fmla="*/ 0 w 12"/>
                <a:gd name="T1" fmla="*/ 12 h 13"/>
                <a:gd name="T2" fmla="*/ 11 w 12"/>
                <a:gd name="T3" fmla="*/ 13 h 13"/>
                <a:gd name="T4" fmla="*/ 12 w 12"/>
                <a:gd name="T5" fmla="*/ 1 h 13"/>
                <a:gd name="T6" fmla="*/ 1 w 12"/>
                <a:gd name="T7" fmla="*/ 0 h 13"/>
                <a:gd name="T8" fmla="*/ 0 w 12"/>
                <a:gd name="T9" fmla="*/ 12 h 13"/>
              </a:gdLst>
              <a:ahLst/>
              <a:cxnLst>
                <a:cxn ang="0">
                  <a:pos x="T0" y="T1"/>
                </a:cxn>
                <a:cxn ang="0">
                  <a:pos x="T2" y="T3"/>
                </a:cxn>
                <a:cxn ang="0">
                  <a:pos x="T4" y="T5"/>
                </a:cxn>
                <a:cxn ang="0">
                  <a:pos x="T6" y="T7"/>
                </a:cxn>
                <a:cxn ang="0">
                  <a:pos x="T8" y="T9"/>
                </a:cxn>
              </a:cxnLst>
              <a:rect l="0" t="0" r="r" b="b"/>
              <a:pathLst>
                <a:path w="12" h="13">
                  <a:moveTo>
                    <a:pt x="0" y="12"/>
                  </a:moveTo>
                  <a:lnTo>
                    <a:pt x="11" y="13"/>
                  </a:lnTo>
                  <a:lnTo>
                    <a:pt x="12" y="1"/>
                  </a:lnTo>
                  <a:lnTo>
                    <a:pt x="1" y="0"/>
                  </a:lnTo>
                  <a:lnTo>
                    <a:pt x="0" y="12"/>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6" name="Freeform 162"/>
            <p:cNvSpPr>
              <a:spLocks/>
            </p:cNvSpPr>
            <p:nvPr userDrawn="1"/>
          </p:nvSpPr>
          <p:spPr bwMode="auto">
            <a:xfrm>
              <a:off x="7020800" y="2926039"/>
              <a:ext cx="28014" cy="28014"/>
            </a:xfrm>
            <a:custGeom>
              <a:avLst/>
              <a:gdLst>
                <a:gd name="T0" fmla="*/ 0 w 12"/>
                <a:gd name="T1" fmla="*/ 11 h 12"/>
                <a:gd name="T2" fmla="*/ 11 w 12"/>
                <a:gd name="T3" fmla="*/ 12 h 12"/>
                <a:gd name="T4" fmla="*/ 12 w 12"/>
                <a:gd name="T5" fmla="*/ 2 h 12"/>
                <a:gd name="T6" fmla="*/ 1 w 12"/>
                <a:gd name="T7" fmla="*/ 0 h 12"/>
                <a:gd name="T8" fmla="*/ 0 w 12"/>
                <a:gd name="T9" fmla="*/ 11 h 12"/>
              </a:gdLst>
              <a:ahLst/>
              <a:cxnLst>
                <a:cxn ang="0">
                  <a:pos x="T0" y="T1"/>
                </a:cxn>
                <a:cxn ang="0">
                  <a:pos x="T2" y="T3"/>
                </a:cxn>
                <a:cxn ang="0">
                  <a:pos x="T4" y="T5"/>
                </a:cxn>
                <a:cxn ang="0">
                  <a:pos x="T6" y="T7"/>
                </a:cxn>
                <a:cxn ang="0">
                  <a:pos x="T8" y="T9"/>
                </a:cxn>
              </a:cxnLst>
              <a:rect l="0" t="0" r="r" b="b"/>
              <a:pathLst>
                <a:path w="12" h="12">
                  <a:moveTo>
                    <a:pt x="0" y="11"/>
                  </a:moveTo>
                  <a:lnTo>
                    <a:pt x="11" y="12"/>
                  </a:lnTo>
                  <a:lnTo>
                    <a:pt x="12" y="2"/>
                  </a:lnTo>
                  <a:lnTo>
                    <a:pt x="1" y="0"/>
                  </a:lnTo>
                  <a:lnTo>
                    <a:pt x="0" y="11"/>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7" name="Freeform 163"/>
            <p:cNvSpPr>
              <a:spLocks/>
            </p:cNvSpPr>
            <p:nvPr userDrawn="1"/>
          </p:nvSpPr>
          <p:spPr bwMode="auto">
            <a:xfrm>
              <a:off x="7048814" y="2930708"/>
              <a:ext cx="28014" cy="28014"/>
            </a:xfrm>
            <a:custGeom>
              <a:avLst/>
              <a:gdLst>
                <a:gd name="T0" fmla="*/ 0 w 12"/>
                <a:gd name="T1" fmla="*/ 10 h 12"/>
                <a:gd name="T2" fmla="*/ 11 w 12"/>
                <a:gd name="T3" fmla="*/ 12 h 12"/>
                <a:gd name="T4" fmla="*/ 12 w 12"/>
                <a:gd name="T5" fmla="*/ 0 h 12"/>
                <a:gd name="T6" fmla="*/ 1 w 12"/>
                <a:gd name="T7" fmla="*/ 0 h 12"/>
                <a:gd name="T8" fmla="*/ 0 w 12"/>
                <a:gd name="T9" fmla="*/ 10 h 12"/>
              </a:gdLst>
              <a:ahLst/>
              <a:cxnLst>
                <a:cxn ang="0">
                  <a:pos x="T0" y="T1"/>
                </a:cxn>
                <a:cxn ang="0">
                  <a:pos x="T2" y="T3"/>
                </a:cxn>
                <a:cxn ang="0">
                  <a:pos x="T4" y="T5"/>
                </a:cxn>
                <a:cxn ang="0">
                  <a:pos x="T6" y="T7"/>
                </a:cxn>
                <a:cxn ang="0">
                  <a:pos x="T8" y="T9"/>
                </a:cxn>
              </a:cxnLst>
              <a:rect l="0" t="0" r="r" b="b"/>
              <a:pathLst>
                <a:path w="12" h="12">
                  <a:moveTo>
                    <a:pt x="0" y="10"/>
                  </a:moveTo>
                  <a:lnTo>
                    <a:pt x="11" y="12"/>
                  </a:lnTo>
                  <a:lnTo>
                    <a:pt x="12" y="0"/>
                  </a:lnTo>
                  <a:lnTo>
                    <a:pt x="1" y="0"/>
                  </a:lnTo>
                  <a:lnTo>
                    <a:pt x="0" y="10"/>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8" name="Freeform 164"/>
            <p:cNvSpPr>
              <a:spLocks/>
            </p:cNvSpPr>
            <p:nvPr userDrawn="1"/>
          </p:nvSpPr>
          <p:spPr bwMode="auto">
            <a:xfrm>
              <a:off x="6885398" y="3091788"/>
              <a:ext cx="46690" cy="56028"/>
            </a:xfrm>
            <a:custGeom>
              <a:avLst/>
              <a:gdLst>
                <a:gd name="T0" fmla="*/ 0 w 21"/>
                <a:gd name="T1" fmla="*/ 25 h 26"/>
                <a:gd name="T2" fmla="*/ 2 w 21"/>
                <a:gd name="T3" fmla="*/ 9 h 26"/>
                <a:gd name="T4" fmla="*/ 12 w 21"/>
                <a:gd name="T5" fmla="*/ 1 h 26"/>
                <a:gd name="T6" fmla="*/ 21 w 21"/>
                <a:gd name="T7" fmla="*/ 11 h 26"/>
                <a:gd name="T8" fmla="*/ 19 w 21"/>
                <a:gd name="T9" fmla="*/ 26 h 26"/>
                <a:gd name="T10" fmla="*/ 0 w 21"/>
                <a:gd name="T11" fmla="*/ 25 h 26"/>
              </a:gdLst>
              <a:ahLst/>
              <a:cxnLst>
                <a:cxn ang="0">
                  <a:pos x="T0" y="T1"/>
                </a:cxn>
                <a:cxn ang="0">
                  <a:pos x="T2" y="T3"/>
                </a:cxn>
                <a:cxn ang="0">
                  <a:pos x="T4" y="T5"/>
                </a:cxn>
                <a:cxn ang="0">
                  <a:pos x="T6" y="T7"/>
                </a:cxn>
                <a:cxn ang="0">
                  <a:pos x="T8" y="T9"/>
                </a:cxn>
                <a:cxn ang="0">
                  <a:pos x="T10" y="T11"/>
                </a:cxn>
              </a:cxnLst>
              <a:rect l="0" t="0" r="r" b="b"/>
              <a:pathLst>
                <a:path w="21" h="26">
                  <a:moveTo>
                    <a:pt x="0" y="25"/>
                  </a:moveTo>
                  <a:cubicBezTo>
                    <a:pt x="2" y="9"/>
                    <a:pt x="2" y="9"/>
                    <a:pt x="2" y="9"/>
                  </a:cubicBezTo>
                  <a:cubicBezTo>
                    <a:pt x="2" y="4"/>
                    <a:pt x="7" y="0"/>
                    <a:pt x="12" y="1"/>
                  </a:cubicBezTo>
                  <a:cubicBezTo>
                    <a:pt x="17" y="1"/>
                    <a:pt x="21" y="6"/>
                    <a:pt x="21" y="11"/>
                  </a:cubicBezTo>
                  <a:cubicBezTo>
                    <a:pt x="19" y="26"/>
                    <a:pt x="19" y="26"/>
                    <a:pt x="19" y="26"/>
                  </a:cubicBezTo>
                  <a:lnTo>
                    <a:pt x="0" y="25"/>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9" name="Freeform 165"/>
            <p:cNvSpPr>
              <a:spLocks/>
            </p:cNvSpPr>
            <p:nvPr userDrawn="1"/>
          </p:nvSpPr>
          <p:spPr bwMode="auto">
            <a:xfrm>
              <a:off x="6848046" y="3070779"/>
              <a:ext cx="44356" cy="74704"/>
            </a:xfrm>
            <a:custGeom>
              <a:avLst/>
              <a:gdLst>
                <a:gd name="T0" fmla="*/ 0 w 21"/>
                <a:gd name="T1" fmla="*/ 32 h 34"/>
                <a:gd name="T2" fmla="*/ 2 w 21"/>
                <a:gd name="T3" fmla="*/ 9 h 34"/>
                <a:gd name="T4" fmla="*/ 12 w 21"/>
                <a:gd name="T5" fmla="*/ 1 h 34"/>
                <a:gd name="T6" fmla="*/ 21 w 21"/>
                <a:gd name="T7" fmla="*/ 11 h 34"/>
                <a:gd name="T8" fmla="*/ 18 w 21"/>
                <a:gd name="T9" fmla="*/ 34 h 34"/>
                <a:gd name="T10" fmla="*/ 0 w 21"/>
                <a:gd name="T11" fmla="*/ 32 h 34"/>
              </a:gdLst>
              <a:ahLst/>
              <a:cxnLst>
                <a:cxn ang="0">
                  <a:pos x="T0" y="T1"/>
                </a:cxn>
                <a:cxn ang="0">
                  <a:pos x="T2" y="T3"/>
                </a:cxn>
                <a:cxn ang="0">
                  <a:pos x="T4" y="T5"/>
                </a:cxn>
                <a:cxn ang="0">
                  <a:pos x="T6" y="T7"/>
                </a:cxn>
                <a:cxn ang="0">
                  <a:pos x="T8" y="T9"/>
                </a:cxn>
                <a:cxn ang="0">
                  <a:pos x="T10" y="T11"/>
                </a:cxn>
              </a:cxnLst>
              <a:rect l="0" t="0" r="r" b="b"/>
              <a:pathLst>
                <a:path w="21" h="34">
                  <a:moveTo>
                    <a:pt x="0" y="32"/>
                  </a:moveTo>
                  <a:cubicBezTo>
                    <a:pt x="2" y="9"/>
                    <a:pt x="2" y="9"/>
                    <a:pt x="2" y="9"/>
                  </a:cubicBezTo>
                  <a:cubicBezTo>
                    <a:pt x="2" y="4"/>
                    <a:pt x="7" y="0"/>
                    <a:pt x="12" y="1"/>
                  </a:cubicBezTo>
                  <a:cubicBezTo>
                    <a:pt x="17" y="1"/>
                    <a:pt x="21" y="6"/>
                    <a:pt x="21" y="11"/>
                  </a:cubicBezTo>
                  <a:cubicBezTo>
                    <a:pt x="18" y="34"/>
                    <a:pt x="18" y="34"/>
                    <a:pt x="18" y="34"/>
                  </a:cubicBezTo>
                  <a:lnTo>
                    <a:pt x="0" y="32"/>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0" name="Freeform 166"/>
            <p:cNvSpPr>
              <a:spLocks/>
            </p:cNvSpPr>
            <p:nvPr userDrawn="1"/>
          </p:nvSpPr>
          <p:spPr bwMode="auto">
            <a:xfrm>
              <a:off x="6764005" y="3061441"/>
              <a:ext cx="49025" cy="74704"/>
            </a:xfrm>
            <a:custGeom>
              <a:avLst/>
              <a:gdLst>
                <a:gd name="T0" fmla="*/ 0 w 22"/>
                <a:gd name="T1" fmla="*/ 32 h 34"/>
                <a:gd name="T2" fmla="*/ 2 w 22"/>
                <a:gd name="T3" fmla="*/ 9 h 34"/>
                <a:gd name="T4" fmla="*/ 13 w 22"/>
                <a:gd name="T5" fmla="*/ 1 h 34"/>
                <a:gd name="T6" fmla="*/ 21 w 22"/>
                <a:gd name="T7" fmla="*/ 11 h 34"/>
                <a:gd name="T8" fmla="*/ 19 w 22"/>
                <a:gd name="T9" fmla="*/ 34 h 34"/>
                <a:gd name="T10" fmla="*/ 0 w 22"/>
                <a:gd name="T11" fmla="*/ 32 h 34"/>
              </a:gdLst>
              <a:ahLst/>
              <a:cxnLst>
                <a:cxn ang="0">
                  <a:pos x="T0" y="T1"/>
                </a:cxn>
                <a:cxn ang="0">
                  <a:pos x="T2" y="T3"/>
                </a:cxn>
                <a:cxn ang="0">
                  <a:pos x="T4" y="T5"/>
                </a:cxn>
                <a:cxn ang="0">
                  <a:pos x="T6" y="T7"/>
                </a:cxn>
                <a:cxn ang="0">
                  <a:pos x="T8" y="T9"/>
                </a:cxn>
                <a:cxn ang="0">
                  <a:pos x="T10" y="T11"/>
                </a:cxn>
              </a:cxnLst>
              <a:rect l="0" t="0" r="r" b="b"/>
              <a:pathLst>
                <a:path w="22" h="34">
                  <a:moveTo>
                    <a:pt x="0" y="32"/>
                  </a:moveTo>
                  <a:cubicBezTo>
                    <a:pt x="2" y="9"/>
                    <a:pt x="2" y="9"/>
                    <a:pt x="2" y="9"/>
                  </a:cubicBezTo>
                  <a:cubicBezTo>
                    <a:pt x="3" y="4"/>
                    <a:pt x="8" y="0"/>
                    <a:pt x="13" y="1"/>
                  </a:cubicBezTo>
                  <a:cubicBezTo>
                    <a:pt x="18" y="2"/>
                    <a:pt x="22" y="6"/>
                    <a:pt x="21" y="11"/>
                  </a:cubicBezTo>
                  <a:cubicBezTo>
                    <a:pt x="19" y="34"/>
                    <a:pt x="19" y="34"/>
                    <a:pt x="19" y="34"/>
                  </a:cubicBezTo>
                  <a:lnTo>
                    <a:pt x="0" y="32"/>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1" name="Freeform 167"/>
            <p:cNvSpPr>
              <a:spLocks/>
            </p:cNvSpPr>
            <p:nvPr userDrawn="1"/>
          </p:nvSpPr>
          <p:spPr bwMode="auto">
            <a:xfrm>
              <a:off x="6806026" y="3056771"/>
              <a:ext cx="46690" cy="84042"/>
            </a:xfrm>
            <a:custGeom>
              <a:avLst/>
              <a:gdLst>
                <a:gd name="T0" fmla="*/ 0 w 22"/>
                <a:gd name="T1" fmla="*/ 37 h 39"/>
                <a:gd name="T2" fmla="*/ 3 w 22"/>
                <a:gd name="T3" fmla="*/ 9 h 39"/>
                <a:gd name="T4" fmla="*/ 13 w 22"/>
                <a:gd name="T5" fmla="*/ 1 h 39"/>
                <a:gd name="T6" fmla="*/ 21 w 22"/>
                <a:gd name="T7" fmla="*/ 11 h 39"/>
                <a:gd name="T8" fmla="*/ 19 w 22"/>
                <a:gd name="T9" fmla="*/ 39 h 39"/>
                <a:gd name="T10" fmla="*/ 0 w 22"/>
                <a:gd name="T11" fmla="*/ 37 h 39"/>
              </a:gdLst>
              <a:ahLst/>
              <a:cxnLst>
                <a:cxn ang="0">
                  <a:pos x="T0" y="T1"/>
                </a:cxn>
                <a:cxn ang="0">
                  <a:pos x="T2" y="T3"/>
                </a:cxn>
                <a:cxn ang="0">
                  <a:pos x="T4" y="T5"/>
                </a:cxn>
                <a:cxn ang="0">
                  <a:pos x="T6" y="T7"/>
                </a:cxn>
                <a:cxn ang="0">
                  <a:pos x="T8" y="T9"/>
                </a:cxn>
                <a:cxn ang="0">
                  <a:pos x="T10" y="T11"/>
                </a:cxn>
              </a:cxnLst>
              <a:rect l="0" t="0" r="r" b="b"/>
              <a:pathLst>
                <a:path w="22" h="39">
                  <a:moveTo>
                    <a:pt x="0" y="37"/>
                  </a:moveTo>
                  <a:cubicBezTo>
                    <a:pt x="3" y="9"/>
                    <a:pt x="3" y="9"/>
                    <a:pt x="3" y="9"/>
                  </a:cubicBezTo>
                  <a:cubicBezTo>
                    <a:pt x="3" y="4"/>
                    <a:pt x="8" y="0"/>
                    <a:pt x="13" y="1"/>
                  </a:cubicBezTo>
                  <a:cubicBezTo>
                    <a:pt x="18" y="1"/>
                    <a:pt x="22" y="6"/>
                    <a:pt x="21" y="11"/>
                  </a:cubicBezTo>
                  <a:cubicBezTo>
                    <a:pt x="19" y="39"/>
                    <a:pt x="19" y="39"/>
                    <a:pt x="19" y="39"/>
                  </a:cubicBezTo>
                  <a:lnTo>
                    <a:pt x="0" y="37"/>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2" name="Freeform 168"/>
            <p:cNvSpPr>
              <a:spLocks/>
            </p:cNvSpPr>
            <p:nvPr userDrawn="1"/>
          </p:nvSpPr>
          <p:spPr bwMode="auto">
            <a:xfrm>
              <a:off x="6724318" y="3122135"/>
              <a:ext cx="205435" cy="88711"/>
            </a:xfrm>
            <a:custGeom>
              <a:avLst/>
              <a:gdLst>
                <a:gd name="T0" fmla="*/ 94 w 94"/>
                <a:gd name="T1" fmla="*/ 9 h 41"/>
                <a:gd name="T2" fmla="*/ 78 w 94"/>
                <a:gd name="T3" fmla="*/ 33 h 41"/>
                <a:gd name="T4" fmla="*/ 36 w 94"/>
                <a:gd name="T5" fmla="*/ 29 h 41"/>
                <a:gd name="T6" fmla="*/ 0 w 94"/>
                <a:gd name="T7" fmla="*/ 0 h 41"/>
                <a:gd name="T8" fmla="*/ 94 w 94"/>
                <a:gd name="T9" fmla="*/ 9 h 41"/>
              </a:gdLst>
              <a:ahLst/>
              <a:cxnLst>
                <a:cxn ang="0">
                  <a:pos x="T0" y="T1"/>
                </a:cxn>
                <a:cxn ang="0">
                  <a:pos x="T2" y="T3"/>
                </a:cxn>
                <a:cxn ang="0">
                  <a:pos x="T4" y="T5"/>
                </a:cxn>
                <a:cxn ang="0">
                  <a:pos x="T6" y="T7"/>
                </a:cxn>
                <a:cxn ang="0">
                  <a:pos x="T8" y="T9"/>
                </a:cxn>
              </a:cxnLst>
              <a:rect l="0" t="0" r="r" b="b"/>
              <a:pathLst>
                <a:path w="94" h="41">
                  <a:moveTo>
                    <a:pt x="94" y="9"/>
                  </a:moveTo>
                  <a:cubicBezTo>
                    <a:pt x="92" y="21"/>
                    <a:pt x="86" y="28"/>
                    <a:pt x="78" y="33"/>
                  </a:cubicBezTo>
                  <a:cubicBezTo>
                    <a:pt x="64" y="41"/>
                    <a:pt x="48" y="39"/>
                    <a:pt x="36" y="29"/>
                  </a:cubicBezTo>
                  <a:cubicBezTo>
                    <a:pt x="0" y="0"/>
                    <a:pt x="0" y="0"/>
                    <a:pt x="0" y="0"/>
                  </a:cubicBezTo>
                  <a:lnTo>
                    <a:pt x="94" y="9"/>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3" name="Freeform 169"/>
            <p:cNvSpPr>
              <a:spLocks/>
            </p:cNvSpPr>
            <p:nvPr userDrawn="1"/>
          </p:nvSpPr>
          <p:spPr bwMode="auto">
            <a:xfrm>
              <a:off x="6605259" y="4104955"/>
              <a:ext cx="322162" cy="480907"/>
            </a:xfrm>
            <a:custGeom>
              <a:avLst/>
              <a:gdLst>
                <a:gd name="T0" fmla="*/ 80 w 147"/>
                <a:gd name="T1" fmla="*/ 203 h 221"/>
                <a:gd name="T2" fmla="*/ 128 w 147"/>
                <a:gd name="T3" fmla="*/ 106 h 221"/>
                <a:gd name="T4" fmla="*/ 135 w 147"/>
                <a:gd name="T5" fmla="*/ 127 h 221"/>
                <a:gd name="T6" fmla="*/ 147 w 147"/>
                <a:gd name="T7" fmla="*/ 124 h 221"/>
                <a:gd name="T8" fmla="*/ 136 w 147"/>
                <a:gd name="T9" fmla="*/ 0 h 221"/>
                <a:gd name="T10" fmla="*/ 130 w 147"/>
                <a:gd name="T11" fmla="*/ 0 h 221"/>
                <a:gd name="T12" fmla="*/ 51 w 147"/>
                <a:gd name="T13" fmla="*/ 59 h 221"/>
                <a:gd name="T14" fmla="*/ 2 w 147"/>
                <a:gd name="T15" fmla="*/ 201 h 221"/>
                <a:gd name="T16" fmla="*/ 2 w 147"/>
                <a:gd name="T17" fmla="*/ 221 h 221"/>
                <a:gd name="T18" fmla="*/ 80 w 147"/>
                <a:gd name="T19" fmla="*/ 20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221">
                  <a:moveTo>
                    <a:pt x="80" y="203"/>
                  </a:moveTo>
                  <a:cubicBezTo>
                    <a:pt x="128" y="106"/>
                    <a:pt x="128" y="106"/>
                    <a:pt x="128" y="106"/>
                  </a:cubicBezTo>
                  <a:cubicBezTo>
                    <a:pt x="135" y="127"/>
                    <a:pt x="135" y="127"/>
                    <a:pt x="135" y="127"/>
                  </a:cubicBezTo>
                  <a:cubicBezTo>
                    <a:pt x="147" y="124"/>
                    <a:pt x="147" y="124"/>
                    <a:pt x="147" y="124"/>
                  </a:cubicBezTo>
                  <a:cubicBezTo>
                    <a:pt x="136" y="0"/>
                    <a:pt x="136" y="0"/>
                    <a:pt x="136" y="0"/>
                  </a:cubicBezTo>
                  <a:cubicBezTo>
                    <a:pt x="130" y="0"/>
                    <a:pt x="130" y="0"/>
                    <a:pt x="130" y="0"/>
                  </a:cubicBezTo>
                  <a:cubicBezTo>
                    <a:pt x="94" y="3"/>
                    <a:pt x="64" y="26"/>
                    <a:pt x="51" y="59"/>
                  </a:cubicBezTo>
                  <a:cubicBezTo>
                    <a:pt x="33" y="108"/>
                    <a:pt x="10" y="163"/>
                    <a:pt x="2" y="201"/>
                  </a:cubicBezTo>
                  <a:cubicBezTo>
                    <a:pt x="0" y="208"/>
                    <a:pt x="1" y="214"/>
                    <a:pt x="2" y="221"/>
                  </a:cubicBezTo>
                  <a:lnTo>
                    <a:pt x="80" y="2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4" name="Freeform 170"/>
            <p:cNvSpPr>
              <a:spLocks/>
            </p:cNvSpPr>
            <p:nvPr userDrawn="1"/>
          </p:nvSpPr>
          <p:spPr bwMode="auto">
            <a:xfrm>
              <a:off x="6598255" y="4329068"/>
              <a:ext cx="705019" cy="730698"/>
            </a:xfrm>
            <a:custGeom>
              <a:avLst/>
              <a:gdLst>
                <a:gd name="T0" fmla="*/ 319 w 322"/>
                <a:gd name="T1" fmla="*/ 115 h 336"/>
                <a:gd name="T2" fmla="*/ 320 w 322"/>
                <a:gd name="T3" fmla="*/ 123 h 336"/>
                <a:gd name="T4" fmla="*/ 160 w 322"/>
                <a:gd name="T5" fmla="*/ 333 h 336"/>
                <a:gd name="T6" fmla="*/ 152 w 322"/>
                <a:gd name="T7" fmla="*/ 334 h 336"/>
                <a:gd name="T8" fmla="*/ 3 w 322"/>
                <a:gd name="T9" fmla="*/ 220 h 336"/>
                <a:gd name="T10" fmla="*/ 2 w 322"/>
                <a:gd name="T11" fmla="*/ 212 h 336"/>
                <a:gd name="T12" fmla="*/ 162 w 322"/>
                <a:gd name="T13" fmla="*/ 3 h 336"/>
                <a:gd name="T14" fmla="*/ 170 w 322"/>
                <a:gd name="T15" fmla="*/ 2 h 336"/>
                <a:gd name="T16" fmla="*/ 319 w 322"/>
                <a:gd name="T17" fmla="*/ 11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2" h="336">
                  <a:moveTo>
                    <a:pt x="319" y="115"/>
                  </a:moveTo>
                  <a:cubicBezTo>
                    <a:pt x="321" y="117"/>
                    <a:pt x="322" y="121"/>
                    <a:pt x="320" y="123"/>
                  </a:cubicBezTo>
                  <a:cubicBezTo>
                    <a:pt x="160" y="333"/>
                    <a:pt x="160" y="333"/>
                    <a:pt x="160" y="333"/>
                  </a:cubicBezTo>
                  <a:cubicBezTo>
                    <a:pt x="158" y="336"/>
                    <a:pt x="154" y="336"/>
                    <a:pt x="152" y="334"/>
                  </a:cubicBezTo>
                  <a:cubicBezTo>
                    <a:pt x="3" y="220"/>
                    <a:pt x="3" y="220"/>
                    <a:pt x="3" y="220"/>
                  </a:cubicBezTo>
                  <a:cubicBezTo>
                    <a:pt x="0" y="218"/>
                    <a:pt x="0" y="215"/>
                    <a:pt x="2" y="212"/>
                  </a:cubicBezTo>
                  <a:cubicBezTo>
                    <a:pt x="162" y="3"/>
                    <a:pt x="162" y="3"/>
                    <a:pt x="162" y="3"/>
                  </a:cubicBezTo>
                  <a:cubicBezTo>
                    <a:pt x="164" y="0"/>
                    <a:pt x="167" y="0"/>
                    <a:pt x="170" y="2"/>
                  </a:cubicBezTo>
                  <a:cubicBezTo>
                    <a:pt x="319" y="115"/>
                    <a:pt x="319" y="115"/>
                    <a:pt x="319" y="115"/>
                  </a:cubicBezTo>
                </a:path>
              </a:pathLst>
            </a:custGeom>
            <a:solidFill>
              <a:srgbClr val="221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5" name="Freeform 171"/>
            <p:cNvSpPr>
              <a:spLocks/>
            </p:cNvSpPr>
            <p:nvPr userDrawn="1"/>
          </p:nvSpPr>
          <p:spPr bwMode="auto">
            <a:xfrm>
              <a:off x="6637942" y="4371089"/>
              <a:ext cx="620975" cy="646656"/>
            </a:xfrm>
            <a:custGeom>
              <a:avLst/>
              <a:gdLst>
                <a:gd name="T0" fmla="*/ 266 w 266"/>
                <a:gd name="T1" fmla="*/ 96 h 277"/>
                <a:gd name="T2" fmla="*/ 127 w 266"/>
                <a:gd name="T3" fmla="*/ 277 h 277"/>
                <a:gd name="T4" fmla="*/ 127 w 266"/>
                <a:gd name="T5" fmla="*/ 277 h 277"/>
                <a:gd name="T6" fmla="*/ 0 w 266"/>
                <a:gd name="T7" fmla="*/ 181 h 277"/>
                <a:gd name="T8" fmla="*/ 139 w 266"/>
                <a:gd name="T9" fmla="*/ 0 h 277"/>
                <a:gd name="T10" fmla="*/ 266 w 266"/>
                <a:gd name="T11" fmla="*/ 96 h 277"/>
              </a:gdLst>
              <a:ahLst/>
              <a:cxnLst>
                <a:cxn ang="0">
                  <a:pos x="T0" y="T1"/>
                </a:cxn>
                <a:cxn ang="0">
                  <a:pos x="T2" y="T3"/>
                </a:cxn>
                <a:cxn ang="0">
                  <a:pos x="T4" y="T5"/>
                </a:cxn>
                <a:cxn ang="0">
                  <a:pos x="T6" y="T7"/>
                </a:cxn>
                <a:cxn ang="0">
                  <a:pos x="T8" y="T9"/>
                </a:cxn>
                <a:cxn ang="0">
                  <a:pos x="T10" y="T11"/>
                </a:cxn>
              </a:cxnLst>
              <a:rect l="0" t="0" r="r" b="b"/>
              <a:pathLst>
                <a:path w="266" h="277">
                  <a:moveTo>
                    <a:pt x="266" y="96"/>
                  </a:moveTo>
                  <a:lnTo>
                    <a:pt x="127" y="277"/>
                  </a:lnTo>
                  <a:lnTo>
                    <a:pt x="127" y="277"/>
                  </a:lnTo>
                  <a:lnTo>
                    <a:pt x="0" y="181"/>
                  </a:lnTo>
                  <a:lnTo>
                    <a:pt x="139" y="0"/>
                  </a:lnTo>
                  <a:lnTo>
                    <a:pt x="266" y="96"/>
                  </a:lnTo>
                  <a:close/>
                </a:path>
              </a:pathLst>
            </a:custGeom>
            <a:solidFill>
              <a:srgbClr val="C6E7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6" name="Freeform 172"/>
            <p:cNvSpPr>
              <a:spLocks/>
            </p:cNvSpPr>
            <p:nvPr userDrawn="1"/>
          </p:nvSpPr>
          <p:spPr bwMode="auto">
            <a:xfrm>
              <a:off x="6637942" y="4371089"/>
              <a:ext cx="620975" cy="646656"/>
            </a:xfrm>
            <a:custGeom>
              <a:avLst/>
              <a:gdLst>
                <a:gd name="T0" fmla="*/ 266 w 266"/>
                <a:gd name="T1" fmla="*/ 96 h 277"/>
                <a:gd name="T2" fmla="*/ 127 w 266"/>
                <a:gd name="T3" fmla="*/ 277 h 277"/>
                <a:gd name="T4" fmla="*/ 127 w 266"/>
                <a:gd name="T5" fmla="*/ 277 h 277"/>
                <a:gd name="T6" fmla="*/ 0 w 266"/>
                <a:gd name="T7" fmla="*/ 181 h 277"/>
                <a:gd name="T8" fmla="*/ 139 w 266"/>
                <a:gd name="T9" fmla="*/ 0 h 277"/>
                <a:gd name="T10" fmla="*/ 266 w 266"/>
                <a:gd name="T11" fmla="*/ 96 h 277"/>
              </a:gdLst>
              <a:ahLst/>
              <a:cxnLst>
                <a:cxn ang="0">
                  <a:pos x="T0" y="T1"/>
                </a:cxn>
                <a:cxn ang="0">
                  <a:pos x="T2" y="T3"/>
                </a:cxn>
                <a:cxn ang="0">
                  <a:pos x="T4" y="T5"/>
                </a:cxn>
                <a:cxn ang="0">
                  <a:pos x="T6" y="T7"/>
                </a:cxn>
                <a:cxn ang="0">
                  <a:pos x="T8" y="T9"/>
                </a:cxn>
                <a:cxn ang="0">
                  <a:pos x="T10" y="T11"/>
                </a:cxn>
              </a:cxnLst>
              <a:rect l="0" t="0" r="r" b="b"/>
              <a:pathLst>
                <a:path w="266" h="277">
                  <a:moveTo>
                    <a:pt x="266" y="96"/>
                  </a:moveTo>
                  <a:lnTo>
                    <a:pt x="127" y="277"/>
                  </a:lnTo>
                  <a:lnTo>
                    <a:pt x="127" y="277"/>
                  </a:lnTo>
                  <a:lnTo>
                    <a:pt x="0" y="181"/>
                  </a:lnTo>
                  <a:lnTo>
                    <a:pt x="139" y="0"/>
                  </a:lnTo>
                  <a:lnTo>
                    <a:pt x="266" y="9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7" name="Freeform 173"/>
            <p:cNvSpPr>
              <a:spLocks/>
            </p:cNvSpPr>
            <p:nvPr userDrawn="1"/>
          </p:nvSpPr>
          <p:spPr bwMode="auto">
            <a:xfrm>
              <a:off x="6934423" y="4371089"/>
              <a:ext cx="324495" cy="646656"/>
            </a:xfrm>
            <a:custGeom>
              <a:avLst/>
              <a:gdLst>
                <a:gd name="T0" fmla="*/ 12 w 139"/>
                <a:gd name="T1" fmla="*/ 0 h 277"/>
                <a:gd name="T2" fmla="*/ 12 w 139"/>
                <a:gd name="T3" fmla="*/ 0 h 277"/>
                <a:gd name="T4" fmla="*/ 0 w 139"/>
                <a:gd name="T5" fmla="*/ 277 h 277"/>
                <a:gd name="T6" fmla="*/ 0 w 139"/>
                <a:gd name="T7" fmla="*/ 277 h 277"/>
                <a:gd name="T8" fmla="*/ 139 w 139"/>
                <a:gd name="T9" fmla="*/ 96 h 277"/>
                <a:gd name="T10" fmla="*/ 12 w 139"/>
                <a:gd name="T11" fmla="*/ 0 h 277"/>
              </a:gdLst>
              <a:ahLst/>
              <a:cxnLst>
                <a:cxn ang="0">
                  <a:pos x="T0" y="T1"/>
                </a:cxn>
                <a:cxn ang="0">
                  <a:pos x="T2" y="T3"/>
                </a:cxn>
                <a:cxn ang="0">
                  <a:pos x="T4" y="T5"/>
                </a:cxn>
                <a:cxn ang="0">
                  <a:pos x="T6" y="T7"/>
                </a:cxn>
                <a:cxn ang="0">
                  <a:pos x="T8" y="T9"/>
                </a:cxn>
                <a:cxn ang="0">
                  <a:pos x="T10" y="T11"/>
                </a:cxn>
              </a:cxnLst>
              <a:rect l="0" t="0" r="r" b="b"/>
              <a:pathLst>
                <a:path w="139" h="277">
                  <a:moveTo>
                    <a:pt x="12" y="0"/>
                  </a:moveTo>
                  <a:lnTo>
                    <a:pt x="12" y="0"/>
                  </a:lnTo>
                  <a:lnTo>
                    <a:pt x="0" y="277"/>
                  </a:lnTo>
                  <a:lnTo>
                    <a:pt x="0" y="277"/>
                  </a:lnTo>
                  <a:lnTo>
                    <a:pt x="139" y="96"/>
                  </a:lnTo>
                  <a:lnTo>
                    <a:pt x="12" y="0"/>
                  </a:lnTo>
                  <a:close/>
                </a:path>
              </a:pathLst>
            </a:custGeom>
            <a:solidFill>
              <a:srgbClr val="D1EC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8" name="Freeform 174"/>
            <p:cNvSpPr>
              <a:spLocks/>
            </p:cNvSpPr>
            <p:nvPr userDrawn="1"/>
          </p:nvSpPr>
          <p:spPr bwMode="auto">
            <a:xfrm>
              <a:off x="6934423" y="4371092"/>
              <a:ext cx="324495" cy="646656"/>
            </a:xfrm>
            <a:custGeom>
              <a:avLst/>
              <a:gdLst>
                <a:gd name="T0" fmla="*/ 12 w 139"/>
                <a:gd name="T1" fmla="*/ 0 h 277"/>
                <a:gd name="T2" fmla="*/ 12 w 139"/>
                <a:gd name="T3" fmla="*/ 0 h 277"/>
                <a:gd name="T4" fmla="*/ 0 w 139"/>
                <a:gd name="T5" fmla="*/ 277 h 277"/>
                <a:gd name="T6" fmla="*/ 0 w 139"/>
                <a:gd name="T7" fmla="*/ 277 h 277"/>
                <a:gd name="T8" fmla="*/ 139 w 139"/>
                <a:gd name="T9" fmla="*/ 96 h 277"/>
                <a:gd name="T10" fmla="*/ 12 w 139"/>
                <a:gd name="T11" fmla="*/ 0 h 277"/>
              </a:gdLst>
              <a:ahLst/>
              <a:cxnLst>
                <a:cxn ang="0">
                  <a:pos x="T0" y="T1"/>
                </a:cxn>
                <a:cxn ang="0">
                  <a:pos x="T2" y="T3"/>
                </a:cxn>
                <a:cxn ang="0">
                  <a:pos x="T4" y="T5"/>
                </a:cxn>
                <a:cxn ang="0">
                  <a:pos x="T6" y="T7"/>
                </a:cxn>
                <a:cxn ang="0">
                  <a:pos x="T8" y="T9"/>
                </a:cxn>
                <a:cxn ang="0">
                  <a:pos x="T10" y="T11"/>
                </a:cxn>
              </a:cxnLst>
              <a:rect l="0" t="0" r="r" b="b"/>
              <a:pathLst>
                <a:path w="139" h="277">
                  <a:moveTo>
                    <a:pt x="12" y="0"/>
                  </a:moveTo>
                  <a:lnTo>
                    <a:pt x="12" y="0"/>
                  </a:lnTo>
                  <a:lnTo>
                    <a:pt x="0" y="277"/>
                  </a:lnTo>
                  <a:lnTo>
                    <a:pt x="0" y="277"/>
                  </a:lnTo>
                  <a:lnTo>
                    <a:pt x="139" y="9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9" name="Freeform 175"/>
            <p:cNvSpPr>
              <a:spLocks/>
            </p:cNvSpPr>
            <p:nvPr userDrawn="1"/>
          </p:nvSpPr>
          <p:spPr bwMode="auto">
            <a:xfrm>
              <a:off x="6820033" y="4604541"/>
              <a:ext cx="100384" cy="79373"/>
            </a:xfrm>
            <a:custGeom>
              <a:avLst/>
              <a:gdLst>
                <a:gd name="T0" fmla="*/ 42 w 43"/>
                <a:gd name="T1" fmla="*/ 34 h 34"/>
                <a:gd name="T2" fmla="*/ 0 w 43"/>
                <a:gd name="T3" fmla="*/ 3 h 34"/>
                <a:gd name="T4" fmla="*/ 3 w 43"/>
                <a:gd name="T5" fmla="*/ 0 h 34"/>
                <a:gd name="T6" fmla="*/ 43 w 43"/>
                <a:gd name="T7" fmla="*/ 31 h 34"/>
                <a:gd name="T8" fmla="*/ 42 w 43"/>
                <a:gd name="T9" fmla="*/ 34 h 34"/>
              </a:gdLst>
              <a:ahLst/>
              <a:cxnLst>
                <a:cxn ang="0">
                  <a:pos x="T0" y="T1"/>
                </a:cxn>
                <a:cxn ang="0">
                  <a:pos x="T2" y="T3"/>
                </a:cxn>
                <a:cxn ang="0">
                  <a:pos x="T4" y="T5"/>
                </a:cxn>
                <a:cxn ang="0">
                  <a:pos x="T6" y="T7"/>
                </a:cxn>
                <a:cxn ang="0">
                  <a:pos x="T8" y="T9"/>
                </a:cxn>
              </a:cxnLst>
              <a:rect l="0" t="0" r="r" b="b"/>
              <a:pathLst>
                <a:path w="43" h="34">
                  <a:moveTo>
                    <a:pt x="42" y="34"/>
                  </a:moveTo>
                  <a:lnTo>
                    <a:pt x="0" y="3"/>
                  </a:lnTo>
                  <a:lnTo>
                    <a:pt x="3" y="0"/>
                  </a:lnTo>
                  <a:lnTo>
                    <a:pt x="43" y="31"/>
                  </a:lnTo>
                  <a:lnTo>
                    <a:pt x="42" y="34"/>
                  </a:ln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0" name="Freeform 176"/>
            <p:cNvSpPr>
              <a:spLocks/>
            </p:cNvSpPr>
            <p:nvPr userDrawn="1"/>
          </p:nvSpPr>
          <p:spPr bwMode="auto">
            <a:xfrm>
              <a:off x="6918081" y="4676911"/>
              <a:ext cx="149408" cy="119060"/>
            </a:xfrm>
            <a:custGeom>
              <a:avLst/>
              <a:gdLst>
                <a:gd name="T0" fmla="*/ 62 w 64"/>
                <a:gd name="T1" fmla="*/ 51 h 51"/>
                <a:gd name="T2" fmla="*/ 0 w 64"/>
                <a:gd name="T3" fmla="*/ 3 h 51"/>
                <a:gd name="T4" fmla="*/ 1 w 64"/>
                <a:gd name="T5" fmla="*/ 0 h 51"/>
                <a:gd name="T6" fmla="*/ 64 w 64"/>
                <a:gd name="T7" fmla="*/ 48 h 51"/>
                <a:gd name="T8" fmla="*/ 62 w 64"/>
                <a:gd name="T9" fmla="*/ 51 h 51"/>
              </a:gdLst>
              <a:ahLst/>
              <a:cxnLst>
                <a:cxn ang="0">
                  <a:pos x="T0" y="T1"/>
                </a:cxn>
                <a:cxn ang="0">
                  <a:pos x="T2" y="T3"/>
                </a:cxn>
                <a:cxn ang="0">
                  <a:pos x="T4" y="T5"/>
                </a:cxn>
                <a:cxn ang="0">
                  <a:pos x="T6" y="T7"/>
                </a:cxn>
                <a:cxn ang="0">
                  <a:pos x="T8" y="T9"/>
                </a:cxn>
              </a:cxnLst>
              <a:rect l="0" t="0" r="r" b="b"/>
              <a:pathLst>
                <a:path w="64" h="51">
                  <a:moveTo>
                    <a:pt x="62" y="51"/>
                  </a:moveTo>
                  <a:lnTo>
                    <a:pt x="0" y="3"/>
                  </a:lnTo>
                  <a:lnTo>
                    <a:pt x="1" y="0"/>
                  </a:lnTo>
                  <a:lnTo>
                    <a:pt x="64" y="48"/>
                  </a:lnTo>
                  <a:lnTo>
                    <a:pt x="62"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1" name="Freeform 177"/>
            <p:cNvSpPr>
              <a:spLocks/>
            </p:cNvSpPr>
            <p:nvPr userDrawn="1"/>
          </p:nvSpPr>
          <p:spPr bwMode="auto">
            <a:xfrm>
              <a:off x="6799021" y="4634890"/>
              <a:ext cx="245123" cy="189095"/>
            </a:xfrm>
            <a:custGeom>
              <a:avLst/>
              <a:gdLst>
                <a:gd name="T0" fmla="*/ 103 w 105"/>
                <a:gd name="T1" fmla="*/ 81 h 81"/>
                <a:gd name="T2" fmla="*/ 0 w 105"/>
                <a:gd name="T3" fmla="*/ 3 h 81"/>
                <a:gd name="T4" fmla="*/ 3 w 105"/>
                <a:gd name="T5" fmla="*/ 0 h 81"/>
                <a:gd name="T6" fmla="*/ 105 w 105"/>
                <a:gd name="T7" fmla="*/ 78 h 81"/>
                <a:gd name="T8" fmla="*/ 103 w 105"/>
                <a:gd name="T9" fmla="*/ 81 h 81"/>
              </a:gdLst>
              <a:ahLst/>
              <a:cxnLst>
                <a:cxn ang="0">
                  <a:pos x="T0" y="T1"/>
                </a:cxn>
                <a:cxn ang="0">
                  <a:pos x="T2" y="T3"/>
                </a:cxn>
                <a:cxn ang="0">
                  <a:pos x="T4" y="T5"/>
                </a:cxn>
                <a:cxn ang="0">
                  <a:pos x="T6" y="T7"/>
                </a:cxn>
                <a:cxn ang="0">
                  <a:pos x="T8" y="T9"/>
                </a:cxn>
              </a:cxnLst>
              <a:rect l="0" t="0" r="r" b="b"/>
              <a:pathLst>
                <a:path w="105" h="81">
                  <a:moveTo>
                    <a:pt x="103" y="81"/>
                  </a:moveTo>
                  <a:lnTo>
                    <a:pt x="0" y="3"/>
                  </a:lnTo>
                  <a:lnTo>
                    <a:pt x="3" y="0"/>
                  </a:lnTo>
                  <a:lnTo>
                    <a:pt x="105" y="78"/>
                  </a:lnTo>
                  <a:lnTo>
                    <a:pt x="103"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2" name="Freeform 178"/>
            <p:cNvSpPr>
              <a:spLocks/>
            </p:cNvSpPr>
            <p:nvPr userDrawn="1"/>
          </p:nvSpPr>
          <p:spPr bwMode="auto">
            <a:xfrm>
              <a:off x="6778012" y="4665239"/>
              <a:ext cx="245123" cy="189095"/>
            </a:xfrm>
            <a:custGeom>
              <a:avLst/>
              <a:gdLst>
                <a:gd name="T0" fmla="*/ 102 w 105"/>
                <a:gd name="T1" fmla="*/ 81 h 81"/>
                <a:gd name="T2" fmla="*/ 0 w 105"/>
                <a:gd name="T3" fmla="*/ 2 h 81"/>
                <a:gd name="T4" fmla="*/ 1 w 105"/>
                <a:gd name="T5" fmla="*/ 0 h 81"/>
                <a:gd name="T6" fmla="*/ 105 w 105"/>
                <a:gd name="T7" fmla="*/ 78 h 81"/>
                <a:gd name="T8" fmla="*/ 102 w 105"/>
                <a:gd name="T9" fmla="*/ 81 h 81"/>
              </a:gdLst>
              <a:ahLst/>
              <a:cxnLst>
                <a:cxn ang="0">
                  <a:pos x="T0" y="T1"/>
                </a:cxn>
                <a:cxn ang="0">
                  <a:pos x="T2" y="T3"/>
                </a:cxn>
                <a:cxn ang="0">
                  <a:pos x="T4" y="T5"/>
                </a:cxn>
                <a:cxn ang="0">
                  <a:pos x="T6" y="T7"/>
                </a:cxn>
                <a:cxn ang="0">
                  <a:pos x="T8" y="T9"/>
                </a:cxn>
              </a:cxnLst>
              <a:rect l="0" t="0" r="r" b="b"/>
              <a:pathLst>
                <a:path w="105" h="81">
                  <a:moveTo>
                    <a:pt x="102" y="81"/>
                  </a:moveTo>
                  <a:lnTo>
                    <a:pt x="0" y="2"/>
                  </a:lnTo>
                  <a:lnTo>
                    <a:pt x="1" y="0"/>
                  </a:lnTo>
                  <a:lnTo>
                    <a:pt x="105" y="78"/>
                  </a:lnTo>
                  <a:lnTo>
                    <a:pt x="10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3" name="Freeform 179"/>
            <p:cNvSpPr>
              <a:spLocks/>
            </p:cNvSpPr>
            <p:nvPr userDrawn="1"/>
          </p:nvSpPr>
          <p:spPr bwMode="auto">
            <a:xfrm>
              <a:off x="6754667" y="4693253"/>
              <a:ext cx="245123" cy="189095"/>
            </a:xfrm>
            <a:custGeom>
              <a:avLst/>
              <a:gdLst>
                <a:gd name="T0" fmla="*/ 102 w 105"/>
                <a:gd name="T1" fmla="*/ 81 h 81"/>
                <a:gd name="T2" fmla="*/ 0 w 105"/>
                <a:gd name="T3" fmla="*/ 3 h 81"/>
                <a:gd name="T4" fmla="*/ 2 w 105"/>
                <a:gd name="T5" fmla="*/ 0 h 81"/>
                <a:gd name="T6" fmla="*/ 105 w 105"/>
                <a:gd name="T7" fmla="*/ 78 h 81"/>
                <a:gd name="T8" fmla="*/ 102 w 105"/>
                <a:gd name="T9" fmla="*/ 81 h 81"/>
              </a:gdLst>
              <a:ahLst/>
              <a:cxnLst>
                <a:cxn ang="0">
                  <a:pos x="T0" y="T1"/>
                </a:cxn>
                <a:cxn ang="0">
                  <a:pos x="T2" y="T3"/>
                </a:cxn>
                <a:cxn ang="0">
                  <a:pos x="T4" y="T5"/>
                </a:cxn>
                <a:cxn ang="0">
                  <a:pos x="T6" y="T7"/>
                </a:cxn>
                <a:cxn ang="0">
                  <a:pos x="T8" y="T9"/>
                </a:cxn>
              </a:cxnLst>
              <a:rect l="0" t="0" r="r" b="b"/>
              <a:pathLst>
                <a:path w="105" h="81">
                  <a:moveTo>
                    <a:pt x="102" y="81"/>
                  </a:moveTo>
                  <a:lnTo>
                    <a:pt x="0" y="3"/>
                  </a:lnTo>
                  <a:lnTo>
                    <a:pt x="2" y="0"/>
                  </a:lnTo>
                  <a:lnTo>
                    <a:pt x="105" y="78"/>
                  </a:lnTo>
                  <a:lnTo>
                    <a:pt x="10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4" name="Freeform 180"/>
            <p:cNvSpPr>
              <a:spLocks/>
            </p:cNvSpPr>
            <p:nvPr userDrawn="1"/>
          </p:nvSpPr>
          <p:spPr bwMode="auto">
            <a:xfrm>
              <a:off x="6885398" y="4795971"/>
              <a:ext cx="114391" cy="86377"/>
            </a:xfrm>
            <a:custGeom>
              <a:avLst/>
              <a:gdLst>
                <a:gd name="T0" fmla="*/ 46 w 49"/>
                <a:gd name="T1" fmla="*/ 37 h 37"/>
                <a:gd name="T2" fmla="*/ 0 w 49"/>
                <a:gd name="T3" fmla="*/ 2 h 37"/>
                <a:gd name="T4" fmla="*/ 2 w 49"/>
                <a:gd name="T5" fmla="*/ 0 h 37"/>
                <a:gd name="T6" fmla="*/ 49 w 49"/>
                <a:gd name="T7" fmla="*/ 34 h 37"/>
                <a:gd name="T8" fmla="*/ 46 w 49"/>
                <a:gd name="T9" fmla="*/ 37 h 37"/>
              </a:gdLst>
              <a:ahLst/>
              <a:cxnLst>
                <a:cxn ang="0">
                  <a:pos x="T0" y="T1"/>
                </a:cxn>
                <a:cxn ang="0">
                  <a:pos x="T2" y="T3"/>
                </a:cxn>
                <a:cxn ang="0">
                  <a:pos x="T4" y="T5"/>
                </a:cxn>
                <a:cxn ang="0">
                  <a:pos x="T6" y="T7"/>
                </a:cxn>
                <a:cxn ang="0">
                  <a:pos x="T8" y="T9"/>
                </a:cxn>
              </a:cxnLst>
              <a:rect l="0" t="0" r="r" b="b"/>
              <a:pathLst>
                <a:path w="49" h="37">
                  <a:moveTo>
                    <a:pt x="46" y="37"/>
                  </a:moveTo>
                  <a:lnTo>
                    <a:pt x="0" y="2"/>
                  </a:lnTo>
                  <a:lnTo>
                    <a:pt x="2" y="0"/>
                  </a:lnTo>
                  <a:lnTo>
                    <a:pt x="49" y="34"/>
                  </a:lnTo>
                  <a:lnTo>
                    <a:pt x="46" y="37"/>
                  </a:lnTo>
                  <a:close/>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5" name="Freeform 181"/>
            <p:cNvSpPr>
              <a:spLocks/>
            </p:cNvSpPr>
            <p:nvPr userDrawn="1"/>
          </p:nvSpPr>
          <p:spPr bwMode="auto">
            <a:xfrm>
              <a:off x="6731322" y="4723602"/>
              <a:ext cx="245123" cy="189095"/>
            </a:xfrm>
            <a:custGeom>
              <a:avLst/>
              <a:gdLst>
                <a:gd name="T0" fmla="*/ 103 w 105"/>
                <a:gd name="T1" fmla="*/ 81 h 81"/>
                <a:gd name="T2" fmla="*/ 0 w 105"/>
                <a:gd name="T3" fmla="*/ 3 h 81"/>
                <a:gd name="T4" fmla="*/ 3 w 105"/>
                <a:gd name="T5" fmla="*/ 0 h 81"/>
                <a:gd name="T6" fmla="*/ 105 w 105"/>
                <a:gd name="T7" fmla="*/ 78 h 81"/>
                <a:gd name="T8" fmla="*/ 103 w 105"/>
                <a:gd name="T9" fmla="*/ 81 h 81"/>
              </a:gdLst>
              <a:ahLst/>
              <a:cxnLst>
                <a:cxn ang="0">
                  <a:pos x="T0" y="T1"/>
                </a:cxn>
                <a:cxn ang="0">
                  <a:pos x="T2" y="T3"/>
                </a:cxn>
                <a:cxn ang="0">
                  <a:pos x="T4" y="T5"/>
                </a:cxn>
                <a:cxn ang="0">
                  <a:pos x="T6" y="T7"/>
                </a:cxn>
                <a:cxn ang="0">
                  <a:pos x="T8" y="T9"/>
                </a:cxn>
              </a:cxnLst>
              <a:rect l="0" t="0" r="r" b="b"/>
              <a:pathLst>
                <a:path w="105" h="81">
                  <a:moveTo>
                    <a:pt x="103" y="81"/>
                  </a:moveTo>
                  <a:lnTo>
                    <a:pt x="0" y="3"/>
                  </a:lnTo>
                  <a:lnTo>
                    <a:pt x="3" y="0"/>
                  </a:lnTo>
                  <a:lnTo>
                    <a:pt x="105" y="78"/>
                  </a:lnTo>
                  <a:lnTo>
                    <a:pt x="103"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6" name="Freeform 182"/>
            <p:cNvSpPr>
              <a:spLocks/>
            </p:cNvSpPr>
            <p:nvPr userDrawn="1"/>
          </p:nvSpPr>
          <p:spPr bwMode="auto">
            <a:xfrm>
              <a:off x="6707977" y="4751616"/>
              <a:ext cx="247456" cy="189095"/>
            </a:xfrm>
            <a:custGeom>
              <a:avLst/>
              <a:gdLst>
                <a:gd name="T0" fmla="*/ 104 w 106"/>
                <a:gd name="T1" fmla="*/ 81 h 81"/>
                <a:gd name="T2" fmla="*/ 0 w 106"/>
                <a:gd name="T3" fmla="*/ 4 h 81"/>
                <a:gd name="T4" fmla="*/ 2 w 106"/>
                <a:gd name="T5" fmla="*/ 0 h 81"/>
                <a:gd name="T6" fmla="*/ 106 w 106"/>
                <a:gd name="T7" fmla="*/ 78 h 81"/>
                <a:gd name="T8" fmla="*/ 104 w 106"/>
                <a:gd name="T9" fmla="*/ 81 h 81"/>
              </a:gdLst>
              <a:ahLst/>
              <a:cxnLst>
                <a:cxn ang="0">
                  <a:pos x="T0" y="T1"/>
                </a:cxn>
                <a:cxn ang="0">
                  <a:pos x="T2" y="T3"/>
                </a:cxn>
                <a:cxn ang="0">
                  <a:pos x="T4" y="T5"/>
                </a:cxn>
                <a:cxn ang="0">
                  <a:pos x="T6" y="T7"/>
                </a:cxn>
                <a:cxn ang="0">
                  <a:pos x="T8" y="T9"/>
                </a:cxn>
              </a:cxnLst>
              <a:rect l="0" t="0" r="r" b="b"/>
              <a:pathLst>
                <a:path w="106" h="81">
                  <a:moveTo>
                    <a:pt x="104" y="81"/>
                  </a:moveTo>
                  <a:lnTo>
                    <a:pt x="0" y="4"/>
                  </a:lnTo>
                  <a:lnTo>
                    <a:pt x="2" y="0"/>
                  </a:lnTo>
                  <a:lnTo>
                    <a:pt x="106" y="78"/>
                  </a:lnTo>
                  <a:lnTo>
                    <a:pt x="104"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7" name="Freeform 183"/>
            <p:cNvSpPr>
              <a:spLocks/>
            </p:cNvSpPr>
            <p:nvPr userDrawn="1"/>
          </p:nvSpPr>
          <p:spPr bwMode="auto">
            <a:xfrm>
              <a:off x="6707977" y="4751616"/>
              <a:ext cx="140070" cy="109722"/>
            </a:xfrm>
            <a:custGeom>
              <a:avLst/>
              <a:gdLst>
                <a:gd name="T0" fmla="*/ 57 w 60"/>
                <a:gd name="T1" fmla="*/ 47 h 47"/>
                <a:gd name="T2" fmla="*/ 0 w 60"/>
                <a:gd name="T3" fmla="*/ 4 h 47"/>
                <a:gd name="T4" fmla="*/ 2 w 60"/>
                <a:gd name="T5" fmla="*/ 0 h 47"/>
                <a:gd name="T6" fmla="*/ 60 w 60"/>
                <a:gd name="T7" fmla="*/ 43 h 47"/>
                <a:gd name="T8" fmla="*/ 57 w 60"/>
                <a:gd name="T9" fmla="*/ 47 h 47"/>
              </a:gdLst>
              <a:ahLst/>
              <a:cxnLst>
                <a:cxn ang="0">
                  <a:pos x="T0" y="T1"/>
                </a:cxn>
                <a:cxn ang="0">
                  <a:pos x="T2" y="T3"/>
                </a:cxn>
                <a:cxn ang="0">
                  <a:pos x="T4" y="T5"/>
                </a:cxn>
                <a:cxn ang="0">
                  <a:pos x="T6" y="T7"/>
                </a:cxn>
                <a:cxn ang="0">
                  <a:pos x="T8" y="T9"/>
                </a:cxn>
              </a:cxnLst>
              <a:rect l="0" t="0" r="r" b="b"/>
              <a:pathLst>
                <a:path w="60" h="47">
                  <a:moveTo>
                    <a:pt x="57" y="47"/>
                  </a:moveTo>
                  <a:lnTo>
                    <a:pt x="0" y="4"/>
                  </a:lnTo>
                  <a:lnTo>
                    <a:pt x="2" y="0"/>
                  </a:lnTo>
                  <a:lnTo>
                    <a:pt x="60" y="43"/>
                  </a:lnTo>
                  <a:lnTo>
                    <a:pt x="57" y="4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8" name="Freeform 184"/>
            <p:cNvSpPr>
              <a:spLocks/>
            </p:cNvSpPr>
            <p:nvPr userDrawn="1"/>
          </p:nvSpPr>
          <p:spPr bwMode="auto">
            <a:xfrm>
              <a:off x="6873727" y="4487816"/>
              <a:ext cx="133067" cy="154076"/>
            </a:xfrm>
            <a:custGeom>
              <a:avLst/>
              <a:gdLst>
                <a:gd name="T0" fmla="*/ 40 w 61"/>
                <a:gd name="T1" fmla="*/ 55 h 71"/>
                <a:gd name="T2" fmla="*/ 0 w 61"/>
                <a:gd name="T3" fmla="*/ 71 h 71"/>
                <a:gd name="T4" fmla="*/ 5 w 61"/>
                <a:gd name="T5" fmla="*/ 28 h 71"/>
                <a:gd name="T6" fmla="*/ 45 w 61"/>
                <a:gd name="T7" fmla="*/ 12 h 71"/>
                <a:gd name="T8" fmla="*/ 46 w 61"/>
                <a:gd name="T9" fmla="*/ 12 h 71"/>
                <a:gd name="T10" fmla="*/ 40 w 61"/>
                <a:gd name="T11" fmla="*/ 55 h 71"/>
              </a:gdLst>
              <a:ahLst/>
              <a:cxnLst>
                <a:cxn ang="0">
                  <a:pos x="T0" y="T1"/>
                </a:cxn>
                <a:cxn ang="0">
                  <a:pos x="T2" y="T3"/>
                </a:cxn>
                <a:cxn ang="0">
                  <a:pos x="T4" y="T5"/>
                </a:cxn>
                <a:cxn ang="0">
                  <a:pos x="T6" y="T7"/>
                </a:cxn>
                <a:cxn ang="0">
                  <a:pos x="T8" y="T9"/>
                </a:cxn>
                <a:cxn ang="0">
                  <a:pos x="T10" y="T11"/>
                </a:cxn>
              </a:cxnLst>
              <a:rect l="0" t="0" r="r" b="b"/>
              <a:pathLst>
                <a:path w="61" h="71">
                  <a:moveTo>
                    <a:pt x="40" y="55"/>
                  </a:moveTo>
                  <a:cubicBezTo>
                    <a:pt x="0" y="71"/>
                    <a:pt x="0" y="71"/>
                    <a:pt x="0" y="71"/>
                  </a:cubicBezTo>
                  <a:cubicBezTo>
                    <a:pt x="5" y="28"/>
                    <a:pt x="5" y="28"/>
                    <a:pt x="5" y="28"/>
                  </a:cubicBezTo>
                  <a:cubicBezTo>
                    <a:pt x="8" y="9"/>
                    <a:pt x="30" y="0"/>
                    <a:pt x="45" y="12"/>
                  </a:cubicBezTo>
                  <a:cubicBezTo>
                    <a:pt x="46" y="12"/>
                    <a:pt x="46" y="12"/>
                    <a:pt x="46" y="12"/>
                  </a:cubicBezTo>
                  <a:cubicBezTo>
                    <a:pt x="61" y="24"/>
                    <a:pt x="58" y="47"/>
                    <a:pt x="40" y="55"/>
                  </a:cubicBez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9" name="Freeform 185"/>
            <p:cNvSpPr>
              <a:spLocks/>
            </p:cNvSpPr>
            <p:nvPr userDrawn="1"/>
          </p:nvSpPr>
          <p:spPr bwMode="auto">
            <a:xfrm>
              <a:off x="6887734" y="4522834"/>
              <a:ext cx="81708" cy="93380"/>
            </a:xfrm>
            <a:custGeom>
              <a:avLst/>
              <a:gdLst>
                <a:gd name="T0" fmla="*/ 29 w 37"/>
                <a:gd name="T1" fmla="*/ 30 h 43"/>
                <a:gd name="T2" fmla="*/ 29 w 37"/>
                <a:gd name="T3" fmla="*/ 28 h 43"/>
                <a:gd name="T4" fmla="*/ 30 w 37"/>
                <a:gd name="T5" fmla="*/ 26 h 43"/>
                <a:gd name="T6" fmla="*/ 32 w 37"/>
                <a:gd name="T7" fmla="*/ 24 h 43"/>
                <a:gd name="T8" fmla="*/ 33 w 37"/>
                <a:gd name="T9" fmla="*/ 12 h 43"/>
                <a:gd name="T10" fmla="*/ 35 w 37"/>
                <a:gd name="T11" fmla="*/ 10 h 43"/>
                <a:gd name="T12" fmla="*/ 33 w 37"/>
                <a:gd name="T13" fmla="*/ 2 h 43"/>
                <a:gd name="T14" fmla="*/ 25 w 37"/>
                <a:gd name="T15" fmla="*/ 3 h 43"/>
                <a:gd name="T16" fmla="*/ 24 w 37"/>
                <a:gd name="T17" fmla="*/ 5 h 43"/>
                <a:gd name="T18" fmla="*/ 13 w 37"/>
                <a:gd name="T19" fmla="*/ 9 h 43"/>
                <a:gd name="T20" fmla="*/ 11 w 37"/>
                <a:gd name="T21" fmla="*/ 11 h 43"/>
                <a:gd name="T22" fmla="*/ 10 w 37"/>
                <a:gd name="T23" fmla="*/ 13 h 43"/>
                <a:gd name="T24" fmla="*/ 7 w 37"/>
                <a:gd name="T25" fmla="*/ 14 h 43"/>
                <a:gd name="T26" fmla="*/ 7 w 37"/>
                <a:gd name="T27" fmla="*/ 16 h 43"/>
                <a:gd name="T28" fmla="*/ 5 w 37"/>
                <a:gd name="T29" fmla="*/ 20 h 43"/>
                <a:gd name="T30" fmla="*/ 3 w 37"/>
                <a:gd name="T31" fmla="*/ 24 h 43"/>
                <a:gd name="T32" fmla="*/ 3 w 37"/>
                <a:gd name="T33" fmla="*/ 24 h 43"/>
                <a:gd name="T34" fmla="*/ 7 w 37"/>
                <a:gd name="T35" fmla="*/ 20 h 43"/>
                <a:gd name="T36" fmla="*/ 7 w 37"/>
                <a:gd name="T37" fmla="*/ 28 h 43"/>
                <a:gd name="T38" fmla="*/ 5 w 37"/>
                <a:gd name="T39" fmla="*/ 30 h 43"/>
                <a:gd name="T40" fmla="*/ 3 w 37"/>
                <a:gd name="T41" fmla="*/ 29 h 43"/>
                <a:gd name="T42" fmla="*/ 4 w 37"/>
                <a:gd name="T43" fmla="*/ 40 h 43"/>
                <a:gd name="T44" fmla="*/ 16 w 37"/>
                <a:gd name="T45" fmla="*/ 39 h 43"/>
                <a:gd name="T46" fmla="*/ 14 w 37"/>
                <a:gd name="T47" fmla="*/ 37 h 43"/>
                <a:gd name="T48" fmla="*/ 16 w 37"/>
                <a:gd name="T49" fmla="*/ 34 h 43"/>
                <a:gd name="T50" fmla="*/ 24 w 37"/>
                <a:gd name="T51" fmla="*/ 32 h 43"/>
                <a:gd name="T52" fmla="*/ 20 w 37"/>
                <a:gd name="T53" fmla="*/ 37 h 43"/>
                <a:gd name="T54" fmla="*/ 20 w 37"/>
                <a:gd name="T55" fmla="*/ 37 h 43"/>
                <a:gd name="T56" fmla="*/ 24 w 37"/>
                <a:gd name="T57" fmla="*/ 34 h 43"/>
                <a:gd name="T58" fmla="*/ 27 w 37"/>
                <a:gd name="T59" fmla="*/ 31 h 43"/>
                <a:gd name="T60" fmla="*/ 29 w 37"/>
                <a:gd name="T61" fmla="*/ 3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3">
                  <a:moveTo>
                    <a:pt x="29" y="30"/>
                  </a:moveTo>
                  <a:cubicBezTo>
                    <a:pt x="29" y="30"/>
                    <a:pt x="29" y="29"/>
                    <a:pt x="29" y="28"/>
                  </a:cubicBezTo>
                  <a:cubicBezTo>
                    <a:pt x="30" y="26"/>
                    <a:pt x="30" y="26"/>
                    <a:pt x="30" y="26"/>
                  </a:cubicBezTo>
                  <a:cubicBezTo>
                    <a:pt x="32" y="24"/>
                    <a:pt x="32" y="24"/>
                    <a:pt x="32" y="24"/>
                  </a:cubicBezTo>
                  <a:cubicBezTo>
                    <a:pt x="35" y="20"/>
                    <a:pt x="35" y="16"/>
                    <a:pt x="33" y="12"/>
                  </a:cubicBezTo>
                  <a:cubicBezTo>
                    <a:pt x="34" y="11"/>
                    <a:pt x="34" y="11"/>
                    <a:pt x="35" y="10"/>
                  </a:cubicBezTo>
                  <a:cubicBezTo>
                    <a:pt x="37" y="8"/>
                    <a:pt x="36" y="4"/>
                    <a:pt x="33" y="2"/>
                  </a:cubicBezTo>
                  <a:cubicBezTo>
                    <a:pt x="31" y="0"/>
                    <a:pt x="27" y="1"/>
                    <a:pt x="25" y="3"/>
                  </a:cubicBezTo>
                  <a:cubicBezTo>
                    <a:pt x="25" y="4"/>
                    <a:pt x="25" y="4"/>
                    <a:pt x="24" y="5"/>
                  </a:cubicBezTo>
                  <a:cubicBezTo>
                    <a:pt x="20" y="4"/>
                    <a:pt x="15" y="6"/>
                    <a:pt x="13" y="9"/>
                  </a:cubicBezTo>
                  <a:cubicBezTo>
                    <a:pt x="11" y="11"/>
                    <a:pt x="11" y="11"/>
                    <a:pt x="11" y="11"/>
                  </a:cubicBezTo>
                  <a:cubicBezTo>
                    <a:pt x="10" y="13"/>
                    <a:pt x="10" y="13"/>
                    <a:pt x="10" y="13"/>
                  </a:cubicBezTo>
                  <a:cubicBezTo>
                    <a:pt x="9" y="13"/>
                    <a:pt x="8" y="13"/>
                    <a:pt x="7" y="14"/>
                  </a:cubicBezTo>
                  <a:cubicBezTo>
                    <a:pt x="7" y="15"/>
                    <a:pt x="7" y="16"/>
                    <a:pt x="7" y="16"/>
                  </a:cubicBezTo>
                  <a:cubicBezTo>
                    <a:pt x="5" y="20"/>
                    <a:pt x="5" y="20"/>
                    <a:pt x="5" y="20"/>
                  </a:cubicBezTo>
                  <a:cubicBezTo>
                    <a:pt x="4" y="21"/>
                    <a:pt x="3" y="22"/>
                    <a:pt x="3" y="24"/>
                  </a:cubicBezTo>
                  <a:cubicBezTo>
                    <a:pt x="3" y="24"/>
                    <a:pt x="3" y="24"/>
                    <a:pt x="3" y="24"/>
                  </a:cubicBezTo>
                  <a:cubicBezTo>
                    <a:pt x="7" y="20"/>
                    <a:pt x="7" y="20"/>
                    <a:pt x="7" y="20"/>
                  </a:cubicBezTo>
                  <a:cubicBezTo>
                    <a:pt x="6" y="22"/>
                    <a:pt x="6" y="25"/>
                    <a:pt x="7" y="28"/>
                  </a:cubicBezTo>
                  <a:cubicBezTo>
                    <a:pt x="5" y="30"/>
                    <a:pt x="5" y="30"/>
                    <a:pt x="5" y="30"/>
                  </a:cubicBezTo>
                  <a:cubicBezTo>
                    <a:pt x="3" y="29"/>
                    <a:pt x="3" y="29"/>
                    <a:pt x="3" y="29"/>
                  </a:cubicBezTo>
                  <a:cubicBezTo>
                    <a:pt x="0" y="32"/>
                    <a:pt x="1" y="38"/>
                    <a:pt x="4" y="40"/>
                  </a:cubicBezTo>
                  <a:cubicBezTo>
                    <a:pt x="8" y="43"/>
                    <a:pt x="13" y="42"/>
                    <a:pt x="16" y="39"/>
                  </a:cubicBezTo>
                  <a:cubicBezTo>
                    <a:pt x="14" y="37"/>
                    <a:pt x="14" y="37"/>
                    <a:pt x="14" y="37"/>
                  </a:cubicBezTo>
                  <a:cubicBezTo>
                    <a:pt x="16" y="34"/>
                    <a:pt x="16" y="34"/>
                    <a:pt x="16" y="34"/>
                  </a:cubicBezTo>
                  <a:cubicBezTo>
                    <a:pt x="19" y="35"/>
                    <a:pt x="21" y="34"/>
                    <a:pt x="24" y="32"/>
                  </a:cubicBezTo>
                  <a:cubicBezTo>
                    <a:pt x="20" y="37"/>
                    <a:pt x="20" y="37"/>
                    <a:pt x="20" y="37"/>
                  </a:cubicBezTo>
                  <a:cubicBezTo>
                    <a:pt x="20" y="37"/>
                    <a:pt x="20" y="37"/>
                    <a:pt x="20" y="37"/>
                  </a:cubicBezTo>
                  <a:cubicBezTo>
                    <a:pt x="22" y="37"/>
                    <a:pt x="23" y="36"/>
                    <a:pt x="24" y="34"/>
                  </a:cubicBezTo>
                  <a:cubicBezTo>
                    <a:pt x="27" y="31"/>
                    <a:pt x="27" y="31"/>
                    <a:pt x="27" y="31"/>
                  </a:cubicBezTo>
                  <a:cubicBezTo>
                    <a:pt x="27" y="31"/>
                    <a:pt x="28" y="31"/>
                    <a:pt x="29"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0" name="Freeform 186"/>
            <p:cNvSpPr>
              <a:spLocks/>
            </p:cNvSpPr>
            <p:nvPr userDrawn="1"/>
          </p:nvSpPr>
          <p:spPr bwMode="auto">
            <a:xfrm>
              <a:off x="6943761" y="4681580"/>
              <a:ext cx="133067" cy="156412"/>
            </a:xfrm>
            <a:custGeom>
              <a:avLst/>
              <a:gdLst>
                <a:gd name="T0" fmla="*/ 40 w 61"/>
                <a:gd name="T1" fmla="*/ 55 h 72"/>
                <a:gd name="T2" fmla="*/ 0 w 61"/>
                <a:gd name="T3" fmla="*/ 72 h 72"/>
                <a:gd name="T4" fmla="*/ 6 w 61"/>
                <a:gd name="T5" fmla="*/ 28 h 72"/>
                <a:gd name="T6" fmla="*/ 45 w 61"/>
                <a:gd name="T7" fmla="*/ 12 h 72"/>
                <a:gd name="T8" fmla="*/ 46 w 61"/>
                <a:gd name="T9" fmla="*/ 12 h 72"/>
                <a:gd name="T10" fmla="*/ 40 w 61"/>
                <a:gd name="T11" fmla="*/ 55 h 72"/>
              </a:gdLst>
              <a:ahLst/>
              <a:cxnLst>
                <a:cxn ang="0">
                  <a:pos x="T0" y="T1"/>
                </a:cxn>
                <a:cxn ang="0">
                  <a:pos x="T2" y="T3"/>
                </a:cxn>
                <a:cxn ang="0">
                  <a:pos x="T4" y="T5"/>
                </a:cxn>
                <a:cxn ang="0">
                  <a:pos x="T6" y="T7"/>
                </a:cxn>
                <a:cxn ang="0">
                  <a:pos x="T8" y="T9"/>
                </a:cxn>
                <a:cxn ang="0">
                  <a:pos x="T10" y="T11"/>
                </a:cxn>
              </a:cxnLst>
              <a:rect l="0" t="0" r="r" b="b"/>
              <a:pathLst>
                <a:path w="61" h="72">
                  <a:moveTo>
                    <a:pt x="40" y="55"/>
                  </a:moveTo>
                  <a:cubicBezTo>
                    <a:pt x="0" y="72"/>
                    <a:pt x="0" y="72"/>
                    <a:pt x="0" y="72"/>
                  </a:cubicBezTo>
                  <a:cubicBezTo>
                    <a:pt x="6" y="28"/>
                    <a:pt x="6" y="28"/>
                    <a:pt x="6" y="28"/>
                  </a:cubicBezTo>
                  <a:cubicBezTo>
                    <a:pt x="8" y="9"/>
                    <a:pt x="30" y="0"/>
                    <a:pt x="45" y="12"/>
                  </a:cubicBezTo>
                  <a:cubicBezTo>
                    <a:pt x="46" y="12"/>
                    <a:pt x="46" y="12"/>
                    <a:pt x="46" y="12"/>
                  </a:cubicBezTo>
                  <a:cubicBezTo>
                    <a:pt x="61" y="24"/>
                    <a:pt x="58" y="47"/>
                    <a:pt x="40" y="55"/>
                  </a:cubicBezTo>
                  <a:close/>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1" name="Freeform 187"/>
            <p:cNvSpPr>
              <a:spLocks/>
            </p:cNvSpPr>
            <p:nvPr userDrawn="1"/>
          </p:nvSpPr>
          <p:spPr bwMode="auto">
            <a:xfrm>
              <a:off x="6778012" y="4648897"/>
              <a:ext cx="133067" cy="156412"/>
            </a:xfrm>
            <a:custGeom>
              <a:avLst/>
              <a:gdLst>
                <a:gd name="T0" fmla="*/ 40 w 61"/>
                <a:gd name="T1" fmla="*/ 55 h 72"/>
                <a:gd name="T2" fmla="*/ 0 w 61"/>
                <a:gd name="T3" fmla="*/ 72 h 72"/>
                <a:gd name="T4" fmla="*/ 6 w 61"/>
                <a:gd name="T5" fmla="*/ 29 h 72"/>
                <a:gd name="T6" fmla="*/ 45 w 61"/>
                <a:gd name="T7" fmla="*/ 12 h 72"/>
                <a:gd name="T8" fmla="*/ 46 w 61"/>
                <a:gd name="T9" fmla="*/ 13 h 72"/>
                <a:gd name="T10" fmla="*/ 40 w 61"/>
                <a:gd name="T11" fmla="*/ 55 h 72"/>
              </a:gdLst>
              <a:ahLst/>
              <a:cxnLst>
                <a:cxn ang="0">
                  <a:pos x="T0" y="T1"/>
                </a:cxn>
                <a:cxn ang="0">
                  <a:pos x="T2" y="T3"/>
                </a:cxn>
                <a:cxn ang="0">
                  <a:pos x="T4" y="T5"/>
                </a:cxn>
                <a:cxn ang="0">
                  <a:pos x="T6" y="T7"/>
                </a:cxn>
                <a:cxn ang="0">
                  <a:pos x="T8" y="T9"/>
                </a:cxn>
                <a:cxn ang="0">
                  <a:pos x="T10" y="T11"/>
                </a:cxn>
              </a:cxnLst>
              <a:rect l="0" t="0" r="r" b="b"/>
              <a:pathLst>
                <a:path w="61" h="72">
                  <a:moveTo>
                    <a:pt x="40" y="55"/>
                  </a:moveTo>
                  <a:cubicBezTo>
                    <a:pt x="0" y="72"/>
                    <a:pt x="0" y="72"/>
                    <a:pt x="0" y="72"/>
                  </a:cubicBezTo>
                  <a:cubicBezTo>
                    <a:pt x="6" y="29"/>
                    <a:pt x="6" y="29"/>
                    <a:pt x="6" y="29"/>
                  </a:cubicBezTo>
                  <a:cubicBezTo>
                    <a:pt x="8" y="10"/>
                    <a:pt x="30" y="0"/>
                    <a:pt x="45" y="12"/>
                  </a:cubicBezTo>
                  <a:cubicBezTo>
                    <a:pt x="46" y="13"/>
                    <a:pt x="46" y="13"/>
                    <a:pt x="46" y="13"/>
                  </a:cubicBezTo>
                  <a:cubicBezTo>
                    <a:pt x="61" y="24"/>
                    <a:pt x="58" y="48"/>
                    <a:pt x="40" y="55"/>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2" name="Freeform 188"/>
            <p:cNvSpPr>
              <a:spLocks/>
            </p:cNvSpPr>
            <p:nvPr userDrawn="1"/>
          </p:nvSpPr>
          <p:spPr bwMode="auto">
            <a:xfrm>
              <a:off x="6962437" y="4711929"/>
              <a:ext cx="86377" cy="93380"/>
            </a:xfrm>
            <a:custGeom>
              <a:avLst/>
              <a:gdLst>
                <a:gd name="T0" fmla="*/ 30 w 39"/>
                <a:gd name="T1" fmla="*/ 29 h 43"/>
                <a:gd name="T2" fmla="*/ 31 w 39"/>
                <a:gd name="T3" fmla="*/ 27 h 43"/>
                <a:gd name="T4" fmla="*/ 34 w 39"/>
                <a:gd name="T5" fmla="*/ 23 h 43"/>
                <a:gd name="T6" fmla="*/ 32 w 39"/>
                <a:gd name="T7" fmla="*/ 5 h 43"/>
                <a:gd name="T8" fmla="*/ 31 w 39"/>
                <a:gd name="T9" fmla="*/ 4 h 43"/>
                <a:gd name="T10" fmla="*/ 13 w 39"/>
                <a:gd name="T11" fmla="*/ 7 h 43"/>
                <a:gd name="T12" fmla="*/ 10 w 39"/>
                <a:gd name="T13" fmla="*/ 11 h 43"/>
                <a:gd name="T14" fmla="*/ 8 w 39"/>
                <a:gd name="T15" fmla="*/ 12 h 43"/>
                <a:gd name="T16" fmla="*/ 8 w 39"/>
                <a:gd name="T17" fmla="*/ 14 h 43"/>
                <a:gd name="T18" fmla="*/ 1 w 39"/>
                <a:gd name="T19" fmla="*/ 23 h 43"/>
                <a:gd name="T20" fmla="*/ 1 w 39"/>
                <a:gd name="T21" fmla="*/ 23 h 43"/>
                <a:gd name="T22" fmla="*/ 7 w 39"/>
                <a:gd name="T23" fmla="*/ 26 h 43"/>
                <a:gd name="T24" fmla="*/ 8 w 39"/>
                <a:gd name="T25" fmla="*/ 26 h 43"/>
                <a:gd name="T26" fmla="*/ 5 w 39"/>
                <a:gd name="T27" fmla="*/ 29 h 43"/>
                <a:gd name="T28" fmla="*/ 3 w 39"/>
                <a:gd name="T29" fmla="*/ 27 h 43"/>
                <a:gd name="T30" fmla="*/ 5 w 39"/>
                <a:gd name="T31" fmla="*/ 40 h 43"/>
                <a:gd name="T32" fmla="*/ 17 w 39"/>
                <a:gd name="T33" fmla="*/ 38 h 43"/>
                <a:gd name="T34" fmla="*/ 15 w 39"/>
                <a:gd name="T35" fmla="*/ 36 h 43"/>
                <a:gd name="T36" fmla="*/ 17 w 39"/>
                <a:gd name="T37" fmla="*/ 33 h 43"/>
                <a:gd name="T38" fmla="*/ 18 w 39"/>
                <a:gd name="T39" fmla="*/ 33 h 43"/>
                <a:gd name="T40" fmla="*/ 22 w 39"/>
                <a:gd name="T41" fmla="*/ 39 h 43"/>
                <a:gd name="T42" fmla="*/ 22 w 39"/>
                <a:gd name="T43" fmla="*/ 39 h 43"/>
                <a:gd name="T44" fmla="*/ 29 w 39"/>
                <a:gd name="T45" fmla="*/ 30 h 43"/>
                <a:gd name="T46" fmla="*/ 30 w 39"/>
                <a:gd name="T4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43">
                  <a:moveTo>
                    <a:pt x="30" y="29"/>
                  </a:moveTo>
                  <a:cubicBezTo>
                    <a:pt x="31" y="29"/>
                    <a:pt x="31" y="28"/>
                    <a:pt x="31" y="27"/>
                  </a:cubicBezTo>
                  <a:cubicBezTo>
                    <a:pt x="34" y="23"/>
                    <a:pt x="34" y="23"/>
                    <a:pt x="34" y="23"/>
                  </a:cubicBezTo>
                  <a:cubicBezTo>
                    <a:pt x="39" y="17"/>
                    <a:pt x="37" y="9"/>
                    <a:pt x="32" y="5"/>
                  </a:cubicBezTo>
                  <a:cubicBezTo>
                    <a:pt x="31" y="4"/>
                    <a:pt x="31" y="4"/>
                    <a:pt x="31" y="4"/>
                  </a:cubicBezTo>
                  <a:cubicBezTo>
                    <a:pt x="26" y="0"/>
                    <a:pt x="17" y="1"/>
                    <a:pt x="13" y="7"/>
                  </a:cubicBezTo>
                  <a:cubicBezTo>
                    <a:pt x="10" y="11"/>
                    <a:pt x="10" y="11"/>
                    <a:pt x="10" y="11"/>
                  </a:cubicBezTo>
                  <a:cubicBezTo>
                    <a:pt x="9" y="11"/>
                    <a:pt x="8" y="12"/>
                    <a:pt x="8" y="12"/>
                  </a:cubicBezTo>
                  <a:cubicBezTo>
                    <a:pt x="8" y="13"/>
                    <a:pt x="7" y="13"/>
                    <a:pt x="8" y="14"/>
                  </a:cubicBezTo>
                  <a:cubicBezTo>
                    <a:pt x="1" y="23"/>
                    <a:pt x="1" y="23"/>
                    <a:pt x="1" y="23"/>
                  </a:cubicBezTo>
                  <a:cubicBezTo>
                    <a:pt x="1" y="23"/>
                    <a:pt x="1" y="23"/>
                    <a:pt x="1" y="23"/>
                  </a:cubicBezTo>
                  <a:cubicBezTo>
                    <a:pt x="3" y="24"/>
                    <a:pt x="5" y="25"/>
                    <a:pt x="7" y="26"/>
                  </a:cubicBezTo>
                  <a:cubicBezTo>
                    <a:pt x="8" y="26"/>
                    <a:pt x="8" y="26"/>
                    <a:pt x="8" y="26"/>
                  </a:cubicBezTo>
                  <a:cubicBezTo>
                    <a:pt x="5" y="29"/>
                    <a:pt x="5" y="29"/>
                    <a:pt x="5" y="29"/>
                  </a:cubicBezTo>
                  <a:cubicBezTo>
                    <a:pt x="3" y="27"/>
                    <a:pt x="3" y="27"/>
                    <a:pt x="3" y="27"/>
                  </a:cubicBezTo>
                  <a:cubicBezTo>
                    <a:pt x="0" y="31"/>
                    <a:pt x="1" y="37"/>
                    <a:pt x="5" y="40"/>
                  </a:cubicBezTo>
                  <a:cubicBezTo>
                    <a:pt x="8" y="43"/>
                    <a:pt x="14" y="42"/>
                    <a:pt x="17" y="38"/>
                  </a:cubicBezTo>
                  <a:cubicBezTo>
                    <a:pt x="15" y="36"/>
                    <a:pt x="15" y="36"/>
                    <a:pt x="15" y="36"/>
                  </a:cubicBezTo>
                  <a:cubicBezTo>
                    <a:pt x="17" y="33"/>
                    <a:pt x="17" y="33"/>
                    <a:pt x="17" y="33"/>
                  </a:cubicBezTo>
                  <a:cubicBezTo>
                    <a:pt x="18" y="33"/>
                    <a:pt x="18" y="33"/>
                    <a:pt x="18" y="33"/>
                  </a:cubicBezTo>
                  <a:cubicBezTo>
                    <a:pt x="18" y="35"/>
                    <a:pt x="20" y="37"/>
                    <a:pt x="22" y="39"/>
                  </a:cubicBezTo>
                  <a:cubicBezTo>
                    <a:pt x="22" y="39"/>
                    <a:pt x="22" y="39"/>
                    <a:pt x="22" y="39"/>
                  </a:cubicBezTo>
                  <a:cubicBezTo>
                    <a:pt x="29" y="30"/>
                    <a:pt x="29" y="30"/>
                    <a:pt x="29" y="30"/>
                  </a:cubicBezTo>
                  <a:cubicBezTo>
                    <a:pt x="29" y="30"/>
                    <a:pt x="30" y="30"/>
                    <a:pt x="30"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3" name="Freeform 189"/>
            <p:cNvSpPr>
              <a:spLocks/>
            </p:cNvSpPr>
            <p:nvPr userDrawn="1"/>
          </p:nvSpPr>
          <p:spPr bwMode="auto">
            <a:xfrm>
              <a:off x="7055817" y="4492485"/>
              <a:ext cx="156412" cy="123729"/>
            </a:xfrm>
            <a:custGeom>
              <a:avLst/>
              <a:gdLst>
                <a:gd name="T0" fmla="*/ 64 w 67"/>
                <a:gd name="T1" fmla="*/ 53 h 53"/>
                <a:gd name="T2" fmla="*/ 0 w 67"/>
                <a:gd name="T3" fmla="*/ 4 h 53"/>
                <a:gd name="T4" fmla="*/ 3 w 67"/>
                <a:gd name="T5" fmla="*/ 0 h 53"/>
                <a:gd name="T6" fmla="*/ 67 w 67"/>
                <a:gd name="T7" fmla="*/ 49 h 53"/>
                <a:gd name="T8" fmla="*/ 64 w 67"/>
                <a:gd name="T9" fmla="*/ 53 h 53"/>
              </a:gdLst>
              <a:ahLst/>
              <a:cxnLst>
                <a:cxn ang="0">
                  <a:pos x="T0" y="T1"/>
                </a:cxn>
                <a:cxn ang="0">
                  <a:pos x="T2" y="T3"/>
                </a:cxn>
                <a:cxn ang="0">
                  <a:pos x="T4" y="T5"/>
                </a:cxn>
                <a:cxn ang="0">
                  <a:pos x="T6" y="T7"/>
                </a:cxn>
                <a:cxn ang="0">
                  <a:pos x="T8" y="T9"/>
                </a:cxn>
              </a:cxnLst>
              <a:rect l="0" t="0" r="r" b="b"/>
              <a:pathLst>
                <a:path w="67" h="53">
                  <a:moveTo>
                    <a:pt x="64" y="53"/>
                  </a:moveTo>
                  <a:lnTo>
                    <a:pt x="0" y="4"/>
                  </a:lnTo>
                  <a:lnTo>
                    <a:pt x="3" y="0"/>
                  </a:lnTo>
                  <a:lnTo>
                    <a:pt x="67" y="49"/>
                  </a:lnTo>
                  <a:lnTo>
                    <a:pt x="64"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4" name="Freeform 190"/>
            <p:cNvSpPr>
              <a:spLocks/>
            </p:cNvSpPr>
            <p:nvPr userDrawn="1"/>
          </p:nvSpPr>
          <p:spPr bwMode="auto">
            <a:xfrm>
              <a:off x="6962437" y="4422451"/>
              <a:ext cx="37352" cy="32683"/>
            </a:xfrm>
            <a:custGeom>
              <a:avLst/>
              <a:gdLst>
                <a:gd name="T0" fmla="*/ 13 w 16"/>
                <a:gd name="T1" fmla="*/ 14 h 14"/>
                <a:gd name="T2" fmla="*/ 0 w 16"/>
                <a:gd name="T3" fmla="*/ 4 h 14"/>
                <a:gd name="T4" fmla="*/ 3 w 16"/>
                <a:gd name="T5" fmla="*/ 0 h 14"/>
                <a:gd name="T6" fmla="*/ 16 w 16"/>
                <a:gd name="T7" fmla="*/ 10 h 14"/>
                <a:gd name="T8" fmla="*/ 13 w 16"/>
                <a:gd name="T9" fmla="*/ 14 h 14"/>
              </a:gdLst>
              <a:ahLst/>
              <a:cxnLst>
                <a:cxn ang="0">
                  <a:pos x="T0" y="T1"/>
                </a:cxn>
                <a:cxn ang="0">
                  <a:pos x="T2" y="T3"/>
                </a:cxn>
                <a:cxn ang="0">
                  <a:pos x="T4" y="T5"/>
                </a:cxn>
                <a:cxn ang="0">
                  <a:pos x="T6" y="T7"/>
                </a:cxn>
                <a:cxn ang="0">
                  <a:pos x="T8" y="T9"/>
                </a:cxn>
              </a:cxnLst>
              <a:rect l="0" t="0" r="r" b="b"/>
              <a:pathLst>
                <a:path w="16" h="14">
                  <a:moveTo>
                    <a:pt x="13" y="14"/>
                  </a:moveTo>
                  <a:lnTo>
                    <a:pt x="0" y="4"/>
                  </a:lnTo>
                  <a:lnTo>
                    <a:pt x="3" y="0"/>
                  </a:lnTo>
                  <a:lnTo>
                    <a:pt x="16" y="10"/>
                  </a:lnTo>
                  <a:lnTo>
                    <a:pt x="13"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5" name="Freeform 191"/>
            <p:cNvSpPr>
              <a:spLocks/>
            </p:cNvSpPr>
            <p:nvPr userDrawn="1"/>
          </p:nvSpPr>
          <p:spPr bwMode="auto">
            <a:xfrm>
              <a:off x="7009127" y="4457469"/>
              <a:ext cx="37352" cy="32683"/>
            </a:xfrm>
            <a:custGeom>
              <a:avLst/>
              <a:gdLst>
                <a:gd name="T0" fmla="*/ 13 w 16"/>
                <a:gd name="T1" fmla="*/ 14 h 14"/>
                <a:gd name="T2" fmla="*/ 0 w 16"/>
                <a:gd name="T3" fmla="*/ 4 h 14"/>
                <a:gd name="T4" fmla="*/ 3 w 16"/>
                <a:gd name="T5" fmla="*/ 0 h 14"/>
                <a:gd name="T6" fmla="*/ 16 w 16"/>
                <a:gd name="T7" fmla="*/ 10 h 14"/>
                <a:gd name="T8" fmla="*/ 13 w 16"/>
                <a:gd name="T9" fmla="*/ 14 h 14"/>
              </a:gdLst>
              <a:ahLst/>
              <a:cxnLst>
                <a:cxn ang="0">
                  <a:pos x="T0" y="T1"/>
                </a:cxn>
                <a:cxn ang="0">
                  <a:pos x="T2" y="T3"/>
                </a:cxn>
                <a:cxn ang="0">
                  <a:pos x="T4" y="T5"/>
                </a:cxn>
                <a:cxn ang="0">
                  <a:pos x="T6" y="T7"/>
                </a:cxn>
                <a:cxn ang="0">
                  <a:pos x="T8" y="T9"/>
                </a:cxn>
              </a:cxnLst>
              <a:rect l="0" t="0" r="r" b="b"/>
              <a:pathLst>
                <a:path w="16" h="14">
                  <a:moveTo>
                    <a:pt x="13" y="14"/>
                  </a:moveTo>
                  <a:lnTo>
                    <a:pt x="0" y="4"/>
                  </a:lnTo>
                  <a:lnTo>
                    <a:pt x="3" y="0"/>
                  </a:lnTo>
                  <a:lnTo>
                    <a:pt x="16" y="10"/>
                  </a:lnTo>
                  <a:lnTo>
                    <a:pt x="13"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6" name="Freeform 192"/>
            <p:cNvSpPr>
              <a:spLocks/>
            </p:cNvSpPr>
            <p:nvPr userDrawn="1"/>
          </p:nvSpPr>
          <p:spPr bwMode="auto">
            <a:xfrm>
              <a:off x="6794352" y="4679246"/>
              <a:ext cx="88711" cy="98049"/>
            </a:xfrm>
            <a:custGeom>
              <a:avLst/>
              <a:gdLst>
                <a:gd name="T0" fmla="*/ 31 w 40"/>
                <a:gd name="T1" fmla="*/ 33 h 45"/>
                <a:gd name="T2" fmla="*/ 31 w 40"/>
                <a:gd name="T3" fmla="*/ 31 h 45"/>
                <a:gd name="T4" fmla="*/ 35 w 40"/>
                <a:gd name="T5" fmla="*/ 26 h 45"/>
                <a:gd name="T6" fmla="*/ 32 w 40"/>
                <a:gd name="T7" fmla="*/ 5 h 45"/>
                <a:gd name="T8" fmla="*/ 32 w 40"/>
                <a:gd name="T9" fmla="*/ 5 h 45"/>
                <a:gd name="T10" fmla="*/ 12 w 40"/>
                <a:gd name="T11" fmla="*/ 8 h 45"/>
                <a:gd name="T12" fmla="*/ 8 w 40"/>
                <a:gd name="T13" fmla="*/ 13 h 45"/>
                <a:gd name="T14" fmla="*/ 6 w 40"/>
                <a:gd name="T15" fmla="*/ 14 h 45"/>
                <a:gd name="T16" fmla="*/ 7 w 40"/>
                <a:gd name="T17" fmla="*/ 18 h 45"/>
                <a:gd name="T18" fmla="*/ 6 w 40"/>
                <a:gd name="T19" fmla="*/ 18 h 45"/>
                <a:gd name="T20" fmla="*/ 4 w 40"/>
                <a:gd name="T21" fmla="*/ 30 h 45"/>
                <a:gd name="T22" fmla="*/ 2 w 40"/>
                <a:gd name="T23" fmla="*/ 32 h 45"/>
                <a:gd name="T24" fmla="*/ 4 w 40"/>
                <a:gd name="T25" fmla="*/ 43 h 45"/>
                <a:gd name="T26" fmla="*/ 4 w 40"/>
                <a:gd name="T27" fmla="*/ 43 h 45"/>
                <a:gd name="T28" fmla="*/ 15 w 40"/>
                <a:gd name="T29" fmla="*/ 41 h 45"/>
                <a:gd name="T30" fmla="*/ 16 w 40"/>
                <a:gd name="T31" fmla="*/ 39 h 45"/>
                <a:gd name="T32" fmla="*/ 27 w 40"/>
                <a:gd name="T33" fmla="*/ 34 h 45"/>
                <a:gd name="T34" fmla="*/ 27 w 40"/>
                <a:gd name="T35" fmla="*/ 33 h 45"/>
                <a:gd name="T36" fmla="*/ 31 w 40"/>
                <a:gd name="T37" fmla="*/ 3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45">
                  <a:moveTo>
                    <a:pt x="31" y="33"/>
                  </a:moveTo>
                  <a:cubicBezTo>
                    <a:pt x="31" y="32"/>
                    <a:pt x="32" y="31"/>
                    <a:pt x="31" y="31"/>
                  </a:cubicBezTo>
                  <a:cubicBezTo>
                    <a:pt x="35" y="26"/>
                    <a:pt x="35" y="26"/>
                    <a:pt x="35" y="26"/>
                  </a:cubicBezTo>
                  <a:cubicBezTo>
                    <a:pt x="40" y="19"/>
                    <a:pt x="39" y="10"/>
                    <a:pt x="32" y="5"/>
                  </a:cubicBezTo>
                  <a:cubicBezTo>
                    <a:pt x="32" y="5"/>
                    <a:pt x="32" y="5"/>
                    <a:pt x="32" y="5"/>
                  </a:cubicBezTo>
                  <a:cubicBezTo>
                    <a:pt x="26" y="0"/>
                    <a:pt x="17" y="2"/>
                    <a:pt x="12" y="8"/>
                  </a:cubicBezTo>
                  <a:cubicBezTo>
                    <a:pt x="8" y="13"/>
                    <a:pt x="8" y="13"/>
                    <a:pt x="8" y="13"/>
                  </a:cubicBezTo>
                  <a:cubicBezTo>
                    <a:pt x="7" y="13"/>
                    <a:pt x="7" y="13"/>
                    <a:pt x="6" y="14"/>
                  </a:cubicBezTo>
                  <a:cubicBezTo>
                    <a:pt x="5" y="15"/>
                    <a:pt x="6" y="17"/>
                    <a:pt x="7" y="18"/>
                  </a:cubicBezTo>
                  <a:cubicBezTo>
                    <a:pt x="6" y="18"/>
                    <a:pt x="6" y="18"/>
                    <a:pt x="6" y="18"/>
                  </a:cubicBezTo>
                  <a:cubicBezTo>
                    <a:pt x="4" y="21"/>
                    <a:pt x="3" y="26"/>
                    <a:pt x="4" y="30"/>
                  </a:cubicBezTo>
                  <a:cubicBezTo>
                    <a:pt x="2" y="32"/>
                    <a:pt x="2" y="32"/>
                    <a:pt x="2" y="32"/>
                  </a:cubicBezTo>
                  <a:cubicBezTo>
                    <a:pt x="0" y="35"/>
                    <a:pt x="0" y="40"/>
                    <a:pt x="4" y="43"/>
                  </a:cubicBezTo>
                  <a:cubicBezTo>
                    <a:pt x="4" y="43"/>
                    <a:pt x="4" y="43"/>
                    <a:pt x="4" y="43"/>
                  </a:cubicBezTo>
                  <a:cubicBezTo>
                    <a:pt x="7" y="45"/>
                    <a:pt x="12" y="45"/>
                    <a:pt x="15" y="41"/>
                  </a:cubicBezTo>
                  <a:cubicBezTo>
                    <a:pt x="16" y="39"/>
                    <a:pt x="16" y="39"/>
                    <a:pt x="16" y="39"/>
                  </a:cubicBezTo>
                  <a:cubicBezTo>
                    <a:pt x="20" y="39"/>
                    <a:pt x="24" y="37"/>
                    <a:pt x="27" y="34"/>
                  </a:cubicBezTo>
                  <a:cubicBezTo>
                    <a:pt x="27" y="33"/>
                    <a:pt x="27" y="33"/>
                    <a:pt x="27" y="33"/>
                  </a:cubicBezTo>
                  <a:cubicBezTo>
                    <a:pt x="28" y="34"/>
                    <a:pt x="30" y="34"/>
                    <a:pt x="31"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7" name="Freeform 193"/>
            <p:cNvSpPr>
              <a:spLocks/>
            </p:cNvSpPr>
            <p:nvPr userDrawn="1"/>
          </p:nvSpPr>
          <p:spPr bwMode="auto">
            <a:xfrm>
              <a:off x="6602924" y="4546179"/>
              <a:ext cx="557946" cy="408538"/>
            </a:xfrm>
            <a:custGeom>
              <a:avLst/>
              <a:gdLst>
                <a:gd name="T0" fmla="*/ 246 w 254"/>
                <a:gd name="T1" fmla="*/ 131 h 187"/>
                <a:gd name="T2" fmla="*/ 232 w 254"/>
                <a:gd name="T3" fmla="*/ 124 h 187"/>
                <a:gd name="T4" fmla="*/ 212 w 254"/>
                <a:gd name="T5" fmla="*/ 110 h 187"/>
                <a:gd name="T6" fmla="*/ 238 w 254"/>
                <a:gd name="T7" fmla="*/ 108 h 187"/>
                <a:gd name="T8" fmla="*/ 246 w 254"/>
                <a:gd name="T9" fmla="*/ 88 h 187"/>
                <a:gd name="T10" fmla="*/ 188 w 254"/>
                <a:gd name="T11" fmla="*/ 90 h 187"/>
                <a:gd name="T12" fmla="*/ 184 w 254"/>
                <a:gd name="T13" fmla="*/ 92 h 187"/>
                <a:gd name="T14" fmla="*/ 184 w 254"/>
                <a:gd name="T15" fmla="*/ 91 h 187"/>
                <a:gd name="T16" fmla="*/ 81 w 254"/>
                <a:gd name="T17" fmla="*/ 0 h 187"/>
                <a:gd name="T18" fmla="*/ 3 w 254"/>
                <a:gd name="T19" fmla="*/ 0 h 187"/>
                <a:gd name="T20" fmla="*/ 2 w 254"/>
                <a:gd name="T21" fmla="*/ 2 h 187"/>
                <a:gd name="T22" fmla="*/ 23 w 254"/>
                <a:gd name="T23" fmla="*/ 53 h 187"/>
                <a:gd name="T24" fmla="*/ 149 w 254"/>
                <a:gd name="T25" fmla="*/ 136 h 187"/>
                <a:gd name="T26" fmla="*/ 185 w 254"/>
                <a:gd name="T27" fmla="*/ 174 h 187"/>
                <a:gd name="T28" fmla="*/ 205 w 254"/>
                <a:gd name="T29" fmla="*/ 184 h 187"/>
                <a:gd name="T30" fmla="*/ 219 w 254"/>
                <a:gd name="T31" fmla="*/ 180 h 187"/>
                <a:gd name="T32" fmla="*/ 220 w 254"/>
                <a:gd name="T33" fmla="*/ 174 h 187"/>
                <a:gd name="T34" fmla="*/ 232 w 254"/>
                <a:gd name="T35" fmla="*/ 170 h 187"/>
                <a:gd name="T36" fmla="*/ 233 w 254"/>
                <a:gd name="T37" fmla="*/ 164 h 187"/>
                <a:gd name="T38" fmla="*/ 233 w 254"/>
                <a:gd name="T39" fmla="*/ 164 h 187"/>
                <a:gd name="T40" fmla="*/ 247 w 254"/>
                <a:gd name="T41" fmla="*/ 159 h 187"/>
                <a:gd name="T42" fmla="*/ 246 w 254"/>
                <a:gd name="T43" fmla="*/ 149 h 187"/>
                <a:gd name="T44" fmla="*/ 250 w 254"/>
                <a:gd name="T45" fmla="*/ 144 h 187"/>
                <a:gd name="T46" fmla="*/ 246 w 254"/>
                <a:gd name="T47" fmla="*/ 131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4" h="187">
                  <a:moveTo>
                    <a:pt x="246" y="131"/>
                  </a:moveTo>
                  <a:cubicBezTo>
                    <a:pt x="232" y="124"/>
                    <a:pt x="232" y="124"/>
                    <a:pt x="232" y="124"/>
                  </a:cubicBezTo>
                  <a:cubicBezTo>
                    <a:pt x="212" y="110"/>
                    <a:pt x="212" y="110"/>
                    <a:pt x="212" y="110"/>
                  </a:cubicBezTo>
                  <a:cubicBezTo>
                    <a:pt x="238" y="108"/>
                    <a:pt x="238" y="108"/>
                    <a:pt x="238" y="108"/>
                  </a:cubicBezTo>
                  <a:cubicBezTo>
                    <a:pt x="238" y="108"/>
                    <a:pt x="254" y="100"/>
                    <a:pt x="246" y="88"/>
                  </a:cubicBezTo>
                  <a:cubicBezTo>
                    <a:pt x="201" y="93"/>
                    <a:pt x="203" y="87"/>
                    <a:pt x="188" y="90"/>
                  </a:cubicBezTo>
                  <a:cubicBezTo>
                    <a:pt x="186" y="91"/>
                    <a:pt x="185" y="91"/>
                    <a:pt x="184" y="92"/>
                  </a:cubicBezTo>
                  <a:cubicBezTo>
                    <a:pt x="184" y="91"/>
                    <a:pt x="184" y="91"/>
                    <a:pt x="184" y="91"/>
                  </a:cubicBezTo>
                  <a:cubicBezTo>
                    <a:pt x="81" y="0"/>
                    <a:pt x="81" y="0"/>
                    <a:pt x="81" y="0"/>
                  </a:cubicBezTo>
                  <a:cubicBezTo>
                    <a:pt x="3" y="0"/>
                    <a:pt x="3" y="0"/>
                    <a:pt x="3" y="0"/>
                  </a:cubicBezTo>
                  <a:cubicBezTo>
                    <a:pt x="2" y="1"/>
                    <a:pt x="2" y="1"/>
                    <a:pt x="2" y="2"/>
                  </a:cubicBezTo>
                  <a:cubicBezTo>
                    <a:pt x="0" y="21"/>
                    <a:pt x="8" y="40"/>
                    <a:pt x="23" y="53"/>
                  </a:cubicBezTo>
                  <a:cubicBezTo>
                    <a:pt x="149" y="136"/>
                    <a:pt x="149" y="136"/>
                    <a:pt x="149" y="136"/>
                  </a:cubicBezTo>
                  <a:cubicBezTo>
                    <a:pt x="185" y="174"/>
                    <a:pt x="185" y="174"/>
                    <a:pt x="185" y="174"/>
                  </a:cubicBezTo>
                  <a:cubicBezTo>
                    <a:pt x="205" y="184"/>
                    <a:pt x="205" y="184"/>
                    <a:pt x="205" y="184"/>
                  </a:cubicBezTo>
                  <a:cubicBezTo>
                    <a:pt x="210" y="187"/>
                    <a:pt x="216" y="185"/>
                    <a:pt x="219" y="180"/>
                  </a:cubicBezTo>
                  <a:cubicBezTo>
                    <a:pt x="220" y="178"/>
                    <a:pt x="220" y="176"/>
                    <a:pt x="220" y="174"/>
                  </a:cubicBezTo>
                  <a:cubicBezTo>
                    <a:pt x="225" y="176"/>
                    <a:pt x="230" y="174"/>
                    <a:pt x="232" y="170"/>
                  </a:cubicBezTo>
                  <a:cubicBezTo>
                    <a:pt x="233" y="168"/>
                    <a:pt x="233" y="166"/>
                    <a:pt x="233" y="164"/>
                  </a:cubicBezTo>
                  <a:cubicBezTo>
                    <a:pt x="233" y="164"/>
                    <a:pt x="233" y="164"/>
                    <a:pt x="233" y="164"/>
                  </a:cubicBezTo>
                  <a:cubicBezTo>
                    <a:pt x="238" y="166"/>
                    <a:pt x="244" y="164"/>
                    <a:pt x="247" y="159"/>
                  </a:cubicBezTo>
                  <a:cubicBezTo>
                    <a:pt x="249" y="156"/>
                    <a:pt x="248" y="152"/>
                    <a:pt x="246" y="149"/>
                  </a:cubicBezTo>
                  <a:cubicBezTo>
                    <a:pt x="248" y="148"/>
                    <a:pt x="249" y="146"/>
                    <a:pt x="250" y="144"/>
                  </a:cubicBezTo>
                  <a:cubicBezTo>
                    <a:pt x="253" y="139"/>
                    <a:pt x="251" y="133"/>
                    <a:pt x="246" y="131"/>
                  </a:cubicBez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8" name="Freeform 194"/>
            <p:cNvSpPr>
              <a:spLocks/>
            </p:cNvSpPr>
            <p:nvPr userDrawn="1"/>
          </p:nvSpPr>
          <p:spPr bwMode="auto">
            <a:xfrm>
              <a:off x="6602924" y="4546182"/>
              <a:ext cx="483242" cy="408538"/>
            </a:xfrm>
            <a:custGeom>
              <a:avLst/>
              <a:gdLst>
                <a:gd name="T0" fmla="*/ 158 w 220"/>
                <a:gd name="T1" fmla="*/ 124 h 187"/>
                <a:gd name="T2" fmla="*/ 46 w 220"/>
                <a:gd name="T3" fmla="*/ 48 h 187"/>
                <a:gd name="T4" fmla="*/ 24 w 220"/>
                <a:gd name="T5" fmla="*/ 0 h 187"/>
                <a:gd name="T6" fmla="*/ 3 w 220"/>
                <a:gd name="T7" fmla="*/ 0 h 187"/>
                <a:gd name="T8" fmla="*/ 2 w 220"/>
                <a:gd name="T9" fmla="*/ 2 h 187"/>
                <a:gd name="T10" fmla="*/ 23 w 220"/>
                <a:gd name="T11" fmla="*/ 53 h 187"/>
                <a:gd name="T12" fmla="*/ 149 w 220"/>
                <a:gd name="T13" fmla="*/ 136 h 187"/>
                <a:gd name="T14" fmla="*/ 185 w 220"/>
                <a:gd name="T15" fmla="*/ 174 h 187"/>
                <a:gd name="T16" fmla="*/ 205 w 220"/>
                <a:gd name="T17" fmla="*/ 184 h 187"/>
                <a:gd name="T18" fmla="*/ 219 w 220"/>
                <a:gd name="T19" fmla="*/ 180 h 187"/>
                <a:gd name="T20" fmla="*/ 220 w 220"/>
                <a:gd name="T21" fmla="*/ 174 h 187"/>
                <a:gd name="T22" fmla="*/ 158 w 220"/>
                <a:gd name="T23" fmla="*/ 12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187">
                  <a:moveTo>
                    <a:pt x="158" y="124"/>
                  </a:moveTo>
                  <a:cubicBezTo>
                    <a:pt x="113" y="94"/>
                    <a:pt x="62" y="60"/>
                    <a:pt x="46" y="48"/>
                  </a:cubicBezTo>
                  <a:cubicBezTo>
                    <a:pt x="19" y="28"/>
                    <a:pt x="24" y="0"/>
                    <a:pt x="24" y="0"/>
                  </a:cubicBezTo>
                  <a:cubicBezTo>
                    <a:pt x="3" y="0"/>
                    <a:pt x="3" y="0"/>
                    <a:pt x="3" y="0"/>
                  </a:cubicBezTo>
                  <a:cubicBezTo>
                    <a:pt x="2" y="1"/>
                    <a:pt x="2" y="1"/>
                    <a:pt x="2" y="2"/>
                  </a:cubicBezTo>
                  <a:cubicBezTo>
                    <a:pt x="0" y="21"/>
                    <a:pt x="8" y="40"/>
                    <a:pt x="23" y="53"/>
                  </a:cubicBezTo>
                  <a:cubicBezTo>
                    <a:pt x="149" y="136"/>
                    <a:pt x="149" y="136"/>
                    <a:pt x="149" y="136"/>
                  </a:cubicBezTo>
                  <a:cubicBezTo>
                    <a:pt x="185" y="174"/>
                    <a:pt x="185" y="174"/>
                    <a:pt x="185" y="174"/>
                  </a:cubicBezTo>
                  <a:cubicBezTo>
                    <a:pt x="205" y="184"/>
                    <a:pt x="205" y="184"/>
                    <a:pt x="205" y="184"/>
                  </a:cubicBezTo>
                  <a:cubicBezTo>
                    <a:pt x="210" y="187"/>
                    <a:pt x="216" y="185"/>
                    <a:pt x="219" y="180"/>
                  </a:cubicBezTo>
                  <a:cubicBezTo>
                    <a:pt x="220" y="178"/>
                    <a:pt x="220" y="176"/>
                    <a:pt x="220" y="174"/>
                  </a:cubicBezTo>
                  <a:lnTo>
                    <a:pt x="158" y="124"/>
                  </a:lnTo>
                  <a:close/>
                </a:path>
              </a:pathLst>
            </a:custGeom>
            <a:solidFill>
              <a:srgbClr val="915E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9" name="Freeform 195"/>
            <p:cNvSpPr>
              <a:spLocks/>
            </p:cNvSpPr>
            <p:nvPr userDrawn="1"/>
          </p:nvSpPr>
          <p:spPr bwMode="auto">
            <a:xfrm>
              <a:off x="7592751" y="4170327"/>
              <a:ext cx="142405" cy="114391"/>
            </a:xfrm>
            <a:custGeom>
              <a:avLst/>
              <a:gdLst>
                <a:gd name="T0" fmla="*/ 14 w 65"/>
                <a:gd name="T1" fmla="*/ 0 h 53"/>
                <a:gd name="T2" fmla="*/ 4 w 65"/>
                <a:gd name="T3" fmla="*/ 16 h 53"/>
                <a:gd name="T4" fmla="*/ 5 w 65"/>
                <a:gd name="T5" fmla="*/ 30 h 53"/>
                <a:gd name="T6" fmla="*/ 11 w 65"/>
                <a:gd name="T7" fmla="*/ 33 h 53"/>
                <a:gd name="T8" fmla="*/ 15 w 65"/>
                <a:gd name="T9" fmla="*/ 43 h 53"/>
                <a:gd name="T10" fmla="*/ 29 w 65"/>
                <a:gd name="T11" fmla="*/ 41 h 53"/>
                <a:gd name="T12" fmla="*/ 29 w 65"/>
                <a:gd name="T13" fmla="*/ 41 h 53"/>
                <a:gd name="T14" fmla="*/ 32 w 65"/>
                <a:gd name="T15" fmla="*/ 46 h 53"/>
                <a:gd name="T16" fmla="*/ 46 w 65"/>
                <a:gd name="T17" fmla="*/ 45 h 53"/>
                <a:gd name="T18" fmla="*/ 49 w 65"/>
                <a:gd name="T19" fmla="*/ 50 h 53"/>
                <a:gd name="T20" fmla="*/ 62 w 65"/>
                <a:gd name="T21" fmla="*/ 48 h 53"/>
                <a:gd name="T22" fmla="*/ 65 w 65"/>
                <a:gd name="T23" fmla="*/ 43 h 53"/>
                <a:gd name="T24" fmla="*/ 14 w 65"/>
                <a:gd name="T2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53">
                  <a:moveTo>
                    <a:pt x="14" y="0"/>
                  </a:moveTo>
                  <a:cubicBezTo>
                    <a:pt x="4" y="16"/>
                    <a:pt x="4" y="16"/>
                    <a:pt x="4" y="16"/>
                  </a:cubicBezTo>
                  <a:cubicBezTo>
                    <a:pt x="0" y="20"/>
                    <a:pt x="1" y="27"/>
                    <a:pt x="5" y="30"/>
                  </a:cubicBezTo>
                  <a:cubicBezTo>
                    <a:pt x="7" y="32"/>
                    <a:pt x="9" y="33"/>
                    <a:pt x="11" y="33"/>
                  </a:cubicBezTo>
                  <a:cubicBezTo>
                    <a:pt x="11" y="36"/>
                    <a:pt x="12" y="40"/>
                    <a:pt x="15" y="43"/>
                  </a:cubicBezTo>
                  <a:cubicBezTo>
                    <a:pt x="19" y="46"/>
                    <a:pt x="25" y="45"/>
                    <a:pt x="29" y="41"/>
                  </a:cubicBezTo>
                  <a:cubicBezTo>
                    <a:pt x="29" y="41"/>
                    <a:pt x="29" y="41"/>
                    <a:pt x="29" y="41"/>
                  </a:cubicBezTo>
                  <a:cubicBezTo>
                    <a:pt x="30" y="43"/>
                    <a:pt x="31" y="45"/>
                    <a:pt x="32" y="46"/>
                  </a:cubicBezTo>
                  <a:cubicBezTo>
                    <a:pt x="36" y="49"/>
                    <a:pt x="42" y="49"/>
                    <a:pt x="46" y="45"/>
                  </a:cubicBezTo>
                  <a:cubicBezTo>
                    <a:pt x="46" y="47"/>
                    <a:pt x="47" y="49"/>
                    <a:pt x="49" y="50"/>
                  </a:cubicBezTo>
                  <a:cubicBezTo>
                    <a:pt x="53" y="53"/>
                    <a:pt x="58" y="53"/>
                    <a:pt x="62" y="48"/>
                  </a:cubicBezTo>
                  <a:cubicBezTo>
                    <a:pt x="65" y="43"/>
                    <a:pt x="65" y="43"/>
                    <a:pt x="65" y="43"/>
                  </a:cubicBezTo>
                  <a:lnTo>
                    <a:pt x="14" y="0"/>
                  </a:ln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10" name="Group 209"/>
          <p:cNvGrpSpPr/>
          <p:nvPr userDrawn="1"/>
        </p:nvGrpSpPr>
        <p:grpSpPr>
          <a:xfrm>
            <a:off x="9848465" y="2005998"/>
            <a:ext cx="1581428" cy="2233981"/>
            <a:chOff x="10352273" y="2045932"/>
            <a:chExt cx="1613139" cy="2278454"/>
          </a:xfrm>
        </p:grpSpPr>
        <p:sp>
          <p:nvSpPr>
            <p:cNvPr id="11" name="Rectangle 7"/>
            <p:cNvSpPr>
              <a:spLocks noChangeArrowheads="1"/>
            </p:cNvSpPr>
            <p:nvPr userDrawn="1"/>
          </p:nvSpPr>
          <p:spPr bwMode="auto">
            <a:xfrm>
              <a:off x="10422308" y="2045932"/>
              <a:ext cx="641988" cy="6443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Rectangle 8"/>
            <p:cNvSpPr>
              <a:spLocks noChangeArrowheads="1"/>
            </p:cNvSpPr>
            <p:nvPr userDrawn="1"/>
          </p:nvSpPr>
          <p:spPr bwMode="auto">
            <a:xfrm>
              <a:off x="10422308" y="2045932"/>
              <a:ext cx="641988" cy="53694"/>
            </a:xfrm>
            <a:prstGeom prst="rect">
              <a:avLst/>
            </a:prstGeom>
            <a:solidFill>
              <a:srgbClr val="D6D6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3" name="Rectangle 9"/>
            <p:cNvSpPr>
              <a:spLocks noChangeArrowheads="1"/>
            </p:cNvSpPr>
            <p:nvPr userDrawn="1"/>
          </p:nvSpPr>
          <p:spPr bwMode="auto">
            <a:xfrm>
              <a:off x="10480671" y="2183670"/>
              <a:ext cx="527596" cy="121394"/>
            </a:xfrm>
            <a:prstGeom prst="rect">
              <a:avLst/>
            </a:prstGeom>
            <a:solidFill>
              <a:srgbClr val="40C5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Rectangle 10"/>
            <p:cNvSpPr>
              <a:spLocks noChangeArrowheads="1"/>
            </p:cNvSpPr>
            <p:nvPr userDrawn="1"/>
          </p:nvSpPr>
          <p:spPr bwMode="auto">
            <a:xfrm>
              <a:off x="10560044" y="2342415"/>
              <a:ext cx="448224" cy="121394"/>
            </a:xfrm>
            <a:prstGeom prst="rect">
              <a:avLst/>
            </a:prstGeom>
            <a:solidFill>
              <a:srgbClr val="5C2D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Rectangle 11"/>
            <p:cNvSpPr>
              <a:spLocks noChangeArrowheads="1"/>
            </p:cNvSpPr>
            <p:nvPr userDrawn="1"/>
          </p:nvSpPr>
          <p:spPr bwMode="auto">
            <a:xfrm>
              <a:off x="10480671" y="2503496"/>
              <a:ext cx="527596" cy="119060"/>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Rectangle 12"/>
            <p:cNvSpPr>
              <a:spLocks noChangeArrowheads="1"/>
            </p:cNvSpPr>
            <p:nvPr userDrawn="1"/>
          </p:nvSpPr>
          <p:spPr bwMode="auto">
            <a:xfrm>
              <a:off x="10532030" y="2235028"/>
              <a:ext cx="422546" cy="16342"/>
            </a:xfrm>
            <a:prstGeom prst="rect">
              <a:avLst/>
            </a:prstGeom>
            <a:solidFill>
              <a:srgbClr val="002F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Freeform 13"/>
            <p:cNvSpPr>
              <a:spLocks/>
            </p:cNvSpPr>
            <p:nvPr userDrawn="1"/>
          </p:nvSpPr>
          <p:spPr bwMode="auto">
            <a:xfrm>
              <a:off x="10532030" y="2235028"/>
              <a:ext cx="422546" cy="16342"/>
            </a:xfrm>
            <a:custGeom>
              <a:avLst/>
              <a:gdLst>
                <a:gd name="T0" fmla="*/ 0 w 181"/>
                <a:gd name="T1" fmla="*/ 7 h 7"/>
                <a:gd name="T2" fmla="*/ 181 w 181"/>
                <a:gd name="T3" fmla="*/ 7 h 7"/>
                <a:gd name="T4" fmla="*/ 181 w 181"/>
                <a:gd name="T5" fmla="*/ 0 h 7"/>
                <a:gd name="T6" fmla="*/ 0 w 181"/>
                <a:gd name="T7" fmla="*/ 0 h 7"/>
              </a:gdLst>
              <a:ahLst/>
              <a:cxnLst>
                <a:cxn ang="0">
                  <a:pos x="T0" y="T1"/>
                </a:cxn>
                <a:cxn ang="0">
                  <a:pos x="T2" y="T3"/>
                </a:cxn>
                <a:cxn ang="0">
                  <a:pos x="T4" y="T5"/>
                </a:cxn>
                <a:cxn ang="0">
                  <a:pos x="T6" y="T7"/>
                </a:cxn>
              </a:cxnLst>
              <a:rect l="0" t="0" r="r" b="b"/>
              <a:pathLst>
                <a:path w="181" h="7">
                  <a:moveTo>
                    <a:pt x="0" y="7"/>
                  </a:moveTo>
                  <a:lnTo>
                    <a:pt x="181" y="7"/>
                  </a:lnTo>
                  <a:lnTo>
                    <a:pt x="18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Rectangle 14"/>
            <p:cNvSpPr>
              <a:spLocks noChangeArrowheads="1"/>
            </p:cNvSpPr>
            <p:nvPr userDrawn="1"/>
          </p:nvSpPr>
          <p:spPr bwMode="auto">
            <a:xfrm>
              <a:off x="10611403" y="2393774"/>
              <a:ext cx="343171" cy="18676"/>
            </a:xfrm>
            <a:prstGeom prst="rect">
              <a:avLst/>
            </a:prstGeom>
            <a:solidFill>
              <a:srgbClr val="002F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9" name="Freeform 15"/>
            <p:cNvSpPr>
              <a:spLocks/>
            </p:cNvSpPr>
            <p:nvPr userDrawn="1"/>
          </p:nvSpPr>
          <p:spPr bwMode="auto">
            <a:xfrm>
              <a:off x="10611403" y="2393774"/>
              <a:ext cx="343171" cy="18676"/>
            </a:xfrm>
            <a:custGeom>
              <a:avLst/>
              <a:gdLst>
                <a:gd name="T0" fmla="*/ 0 w 147"/>
                <a:gd name="T1" fmla="*/ 8 h 8"/>
                <a:gd name="T2" fmla="*/ 147 w 147"/>
                <a:gd name="T3" fmla="*/ 8 h 8"/>
                <a:gd name="T4" fmla="*/ 147 w 147"/>
                <a:gd name="T5" fmla="*/ 0 h 8"/>
                <a:gd name="T6" fmla="*/ 0 w 147"/>
                <a:gd name="T7" fmla="*/ 0 h 8"/>
              </a:gdLst>
              <a:ahLst/>
              <a:cxnLst>
                <a:cxn ang="0">
                  <a:pos x="T0" y="T1"/>
                </a:cxn>
                <a:cxn ang="0">
                  <a:pos x="T2" y="T3"/>
                </a:cxn>
                <a:cxn ang="0">
                  <a:pos x="T4" y="T5"/>
                </a:cxn>
                <a:cxn ang="0">
                  <a:pos x="T6" y="T7"/>
                </a:cxn>
              </a:cxnLst>
              <a:rect l="0" t="0" r="r" b="b"/>
              <a:pathLst>
                <a:path w="147" h="8">
                  <a:moveTo>
                    <a:pt x="0" y="8"/>
                  </a:moveTo>
                  <a:lnTo>
                    <a:pt x="147" y="8"/>
                  </a:lnTo>
                  <a:lnTo>
                    <a:pt x="147"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Rectangle 16"/>
            <p:cNvSpPr>
              <a:spLocks noChangeArrowheads="1"/>
            </p:cNvSpPr>
            <p:nvPr userDrawn="1"/>
          </p:nvSpPr>
          <p:spPr bwMode="auto">
            <a:xfrm>
              <a:off x="10532030" y="2554854"/>
              <a:ext cx="422546" cy="16342"/>
            </a:xfrm>
            <a:prstGeom prst="rect">
              <a:avLst/>
            </a:prstGeom>
            <a:solidFill>
              <a:srgbClr val="002F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7"/>
            <p:cNvSpPr>
              <a:spLocks/>
            </p:cNvSpPr>
            <p:nvPr userDrawn="1"/>
          </p:nvSpPr>
          <p:spPr bwMode="auto">
            <a:xfrm>
              <a:off x="10532030" y="2554854"/>
              <a:ext cx="422546" cy="16342"/>
            </a:xfrm>
            <a:custGeom>
              <a:avLst/>
              <a:gdLst>
                <a:gd name="T0" fmla="*/ 0 w 181"/>
                <a:gd name="T1" fmla="*/ 7 h 7"/>
                <a:gd name="T2" fmla="*/ 181 w 181"/>
                <a:gd name="T3" fmla="*/ 7 h 7"/>
                <a:gd name="T4" fmla="*/ 181 w 181"/>
                <a:gd name="T5" fmla="*/ 0 h 7"/>
                <a:gd name="T6" fmla="*/ 0 w 181"/>
                <a:gd name="T7" fmla="*/ 0 h 7"/>
              </a:gdLst>
              <a:ahLst/>
              <a:cxnLst>
                <a:cxn ang="0">
                  <a:pos x="T0" y="T1"/>
                </a:cxn>
                <a:cxn ang="0">
                  <a:pos x="T2" y="T3"/>
                </a:cxn>
                <a:cxn ang="0">
                  <a:pos x="T4" y="T5"/>
                </a:cxn>
                <a:cxn ang="0">
                  <a:pos x="T6" y="T7"/>
                </a:cxn>
              </a:cxnLst>
              <a:rect l="0" t="0" r="r" b="b"/>
              <a:pathLst>
                <a:path w="181" h="7">
                  <a:moveTo>
                    <a:pt x="0" y="7"/>
                  </a:moveTo>
                  <a:lnTo>
                    <a:pt x="181" y="7"/>
                  </a:lnTo>
                  <a:lnTo>
                    <a:pt x="18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Freeform 18"/>
            <p:cNvSpPr>
              <a:spLocks/>
            </p:cNvSpPr>
            <p:nvPr userDrawn="1"/>
          </p:nvSpPr>
          <p:spPr bwMode="auto">
            <a:xfrm>
              <a:off x="11022275" y="2062275"/>
              <a:ext cx="21011" cy="21011"/>
            </a:xfrm>
            <a:custGeom>
              <a:avLst/>
              <a:gdLst>
                <a:gd name="T0" fmla="*/ 1 w 9"/>
                <a:gd name="T1" fmla="*/ 9 h 9"/>
                <a:gd name="T2" fmla="*/ 0 w 9"/>
                <a:gd name="T3" fmla="*/ 7 h 9"/>
                <a:gd name="T4" fmla="*/ 8 w 9"/>
                <a:gd name="T5" fmla="*/ 0 h 9"/>
                <a:gd name="T6" fmla="*/ 9 w 9"/>
                <a:gd name="T7" fmla="*/ 2 h 9"/>
                <a:gd name="T8" fmla="*/ 1 w 9"/>
                <a:gd name="T9" fmla="*/ 9 h 9"/>
              </a:gdLst>
              <a:ahLst/>
              <a:cxnLst>
                <a:cxn ang="0">
                  <a:pos x="T0" y="T1"/>
                </a:cxn>
                <a:cxn ang="0">
                  <a:pos x="T2" y="T3"/>
                </a:cxn>
                <a:cxn ang="0">
                  <a:pos x="T4" y="T5"/>
                </a:cxn>
                <a:cxn ang="0">
                  <a:pos x="T6" y="T7"/>
                </a:cxn>
                <a:cxn ang="0">
                  <a:pos x="T8" y="T9"/>
                </a:cxn>
              </a:cxnLst>
              <a:rect l="0" t="0" r="r" b="b"/>
              <a:pathLst>
                <a:path w="9" h="9">
                  <a:moveTo>
                    <a:pt x="1" y="9"/>
                  </a:moveTo>
                  <a:lnTo>
                    <a:pt x="0" y="7"/>
                  </a:lnTo>
                  <a:lnTo>
                    <a:pt x="8" y="0"/>
                  </a:lnTo>
                  <a:lnTo>
                    <a:pt x="9" y="2"/>
                  </a:lnTo>
                  <a:lnTo>
                    <a:pt x="1" y="9"/>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9"/>
            <p:cNvSpPr>
              <a:spLocks/>
            </p:cNvSpPr>
            <p:nvPr userDrawn="1"/>
          </p:nvSpPr>
          <p:spPr bwMode="auto">
            <a:xfrm>
              <a:off x="11022275" y="2062275"/>
              <a:ext cx="21011" cy="21011"/>
            </a:xfrm>
            <a:custGeom>
              <a:avLst/>
              <a:gdLst>
                <a:gd name="T0" fmla="*/ 8 w 9"/>
                <a:gd name="T1" fmla="*/ 9 h 9"/>
                <a:gd name="T2" fmla="*/ 0 w 9"/>
                <a:gd name="T3" fmla="*/ 2 h 9"/>
                <a:gd name="T4" fmla="*/ 1 w 9"/>
                <a:gd name="T5" fmla="*/ 0 h 9"/>
                <a:gd name="T6" fmla="*/ 9 w 9"/>
                <a:gd name="T7" fmla="*/ 7 h 9"/>
                <a:gd name="T8" fmla="*/ 8 w 9"/>
                <a:gd name="T9" fmla="*/ 9 h 9"/>
              </a:gdLst>
              <a:ahLst/>
              <a:cxnLst>
                <a:cxn ang="0">
                  <a:pos x="T0" y="T1"/>
                </a:cxn>
                <a:cxn ang="0">
                  <a:pos x="T2" y="T3"/>
                </a:cxn>
                <a:cxn ang="0">
                  <a:pos x="T4" y="T5"/>
                </a:cxn>
                <a:cxn ang="0">
                  <a:pos x="T6" y="T7"/>
                </a:cxn>
                <a:cxn ang="0">
                  <a:pos x="T8" y="T9"/>
                </a:cxn>
              </a:cxnLst>
              <a:rect l="0" t="0" r="r" b="b"/>
              <a:pathLst>
                <a:path w="9" h="9">
                  <a:moveTo>
                    <a:pt x="8" y="9"/>
                  </a:moveTo>
                  <a:lnTo>
                    <a:pt x="0" y="2"/>
                  </a:lnTo>
                  <a:lnTo>
                    <a:pt x="1" y="0"/>
                  </a:lnTo>
                  <a:lnTo>
                    <a:pt x="9" y="7"/>
                  </a:lnTo>
                  <a:lnTo>
                    <a:pt x="8" y="9"/>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20"/>
            <p:cNvSpPr>
              <a:spLocks noEditPoints="1"/>
            </p:cNvSpPr>
            <p:nvPr userDrawn="1"/>
          </p:nvSpPr>
          <p:spPr bwMode="auto">
            <a:xfrm>
              <a:off x="10942902" y="2062275"/>
              <a:ext cx="18676" cy="21011"/>
            </a:xfrm>
            <a:custGeom>
              <a:avLst/>
              <a:gdLst>
                <a:gd name="T0" fmla="*/ 8 w 8"/>
                <a:gd name="T1" fmla="*/ 9 h 9"/>
                <a:gd name="T2" fmla="*/ 0 w 8"/>
                <a:gd name="T3" fmla="*/ 9 h 9"/>
                <a:gd name="T4" fmla="*/ 0 w 8"/>
                <a:gd name="T5" fmla="*/ 0 h 9"/>
                <a:gd name="T6" fmla="*/ 8 w 8"/>
                <a:gd name="T7" fmla="*/ 0 h 9"/>
                <a:gd name="T8" fmla="*/ 8 w 8"/>
                <a:gd name="T9" fmla="*/ 9 h 9"/>
                <a:gd name="T10" fmla="*/ 2 w 8"/>
                <a:gd name="T11" fmla="*/ 7 h 9"/>
                <a:gd name="T12" fmla="*/ 6 w 8"/>
                <a:gd name="T13" fmla="*/ 7 h 9"/>
                <a:gd name="T14" fmla="*/ 6 w 8"/>
                <a:gd name="T15" fmla="*/ 2 h 9"/>
                <a:gd name="T16" fmla="*/ 2 w 8"/>
                <a:gd name="T17" fmla="*/ 2 h 9"/>
                <a:gd name="T18" fmla="*/ 2 w 8"/>
                <a:gd name="T19"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9">
                  <a:moveTo>
                    <a:pt x="8" y="9"/>
                  </a:moveTo>
                  <a:lnTo>
                    <a:pt x="0" y="9"/>
                  </a:lnTo>
                  <a:lnTo>
                    <a:pt x="0" y="0"/>
                  </a:lnTo>
                  <a:lnTo>
                    <a:pt x="8" y="0"/>
                  </a:lnTo>
                  <a:lnTo>
                    <a:pt x="8" y="9"/>
                  </a:lnTo>
                  <a:close/>
                  <a:moveTo>
                    <a:pt x="2" y="7"/>
                  </a:moveTo>
                  <a:lnTo>
                    <a:pt x="6" y="7"/>
                  </a:lnTo>
                  <a:lnTo>
                    <a:pt x="6" y="2"/>
                  </a:lnTo>
                  <a:lnTo>
                    <a:pt x="2" y="2"/>
                  </a:lnTo>
                  <a:lnTo>
                    <a:pt x="2" y="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Rectangle 21"/>
            <p:cNvSpPr>
              <a:spLocks noChangeArrowheads="1"/>
            </p:cNvSpPr>
            <p:nvPr userDrawn="1"/>
          </p:nvSpPr>
          <p:spPr bwMode="auto">
            <a:xfrm>
              <a:off x="10865863" y="2071613"/>
              <a:ext cx="16342" cy="4669"/>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Rectangle 49"/>
            <p:cNvSpPr>
              <a:spLocks noChangeArrowheads="1"/>
            </p:cNvSpPr>
            <p:nvPr userDrawn="1"/>
          </p:nvSpPr>
          <p:spPr bwMode="auto">
            <a:xfrm>
              <a:off x="10352273" y="3530673"/>
              <a:ext cx="231116" cy="186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Freeform 50"/>
            <p:cNvSpPr>
              <a:spLocks/>
            </p:cNvSpPr>
            <p:nvPr userDrawn="1"/>
          </p:nvSpPr>
          <p:spPr bwMode="auto">
            <a:xfrm>
              <a:off x="10352273" y="3530673"/>
              <a:ext cx="231116" cy="18676"/>
            </a:xfrm>
            <a:custGeom>
              <a:avLst/>
              <a:gdLst>
                <a:gd name="T0" fmla="*/ 99 w 99"/>
                <a:gd name="T1" fmla="*/ 0 h 8"/>
                <a:gd name="T2" fmla="*/ 0 w 99"/>
                <a:gd name="T3" fmla="*/ 0 h 8"/>
                <a:gd name="T4" fmla="*/ 0 w 99"/>
                <a:gd name="T5" fmla="*/ 8 h 8"/>
                <a:gd name="T6" fmla="*/ 99 w 99"/>
                <a:gd name="T7" fmla="*/ 8 h 8"/>
              </a:gdLst>
              <a:ahLst/>
              <a:cxnLst>
                <a:cxn ang="0">
                  <a:pos x="T0" y="T1"/>
                </a:cxn>
                <a:cxn ang="0">
                  <a:pos x="T2" y="T3"/>
                </a:cxn>
                <a:cxn ang="0">
                  <a:pos x="T4" y="T5"/>
                </a:cxn>
                <a:cxn ang="0">
                  <a:pos x="T6" y="T7"/>
                </a:cxn>
              </a:cxnLst>
              <a:rect l="0" t="0" r="r" b="b"/>
              <a:pathLst>
                <a:path w="99" h="8">
                  <a:moveTo>
                    <a:pt x="99" y="0"/>
                  </a:moveTo>
                  <a:lnTo>
                    <a:pt x="0" y="0"/>
                  </a:lnTo>
                  <a:lnTo>
                    <a:pt x="0" y="8"/>
                  </a:lnTo>
                  <a:lnTo>
                    <a:pt x="99"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Freeform 52"/>
            <p:cNvSpPr>
              <a:spLocks/>
            </p:cNvSpPr>
            <p:nvPr userDrawn="1"/>
          </p:nvSpPr>
          <p:spPr bwMode="auto">
            <a:xfrm>
              <a:off x="10583389" y="2764959"/>
              <a:ext cx="1382023" cy="1547774"/>
            </a:xfrm>
            <a:custGeom>
              <a:avLst/>
              <a:gdLst>
                <a:gd name="T0" fmla="*/ 591 w 631"/>
                <a:gd name="T1" fmla="*/ 561 h 711"/>
                <a:gd name="T2" fmla="*/ 356 w 631"/>
                <a:gd name="T3" fmla="*/ 697 h 711"/>
                <a:gd name="T4" fmla="*/ 276 w 631"/>
                <a:gd name="T5" fmla="*/ 697 h 711"/>
                <a:gd name="T6" fmla="*/ 40 w 631"/>
                <a:gd name="T7" fmla="*/ 561 h 711"/>
                <a:gd name="T8" fmla="*/ 0 w 631"/>
                <a:gd name="T9" fmla="*/ 492 h 711"/>
                <a:gd name="T10" fmla="*/ 0 w 631"/>
                <a:gd name="T11" fmla="*/ 220 h 711"/>
                <a:gd name="T12" fmla="*/ 40 w 631"/>
                <a:gd name="T13" fmla="*/ 150 h 711"/>
                <a:gd name="T14" fmla="*/ 275 w 631"/>
                <a:gd name="T15" fmla="*/ 14 h 711"/>
                <a:gd name="T16" fmla="*/ 355 w 631"/>
                <a:gd name="T17" fmla="*/ 14 h 711"/>
                <a:gd name="T18" fmla="*/ 591 w 631"/>
                <a:gd name="T19" fmla="*/ 150 h 711"/>
                <a:gd name="T20" fmla="*/ 631 w 631"/>
                <a:gd name="T21" fmla="*/ 219 h 711"/>
                <a:gd name="T22" fmla="*/ 631 w 631"/>
                <a:gd name="T23" fmla="*/ 491 h 711"/>
                <a:gd name="T24" fmla="*/ 591 w 631"/>
                <a:gd name="T25" fmla="*/ 56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1" h="711">
                  <a:moveTo>
                    <a:pt x="591" y="561"/>
                  </a:moveTo>
                  <a:cubicBezTo>
                    <a:pt x="356" y="697"/>
                    <a:pt x="356" y="697"/>
                    <a:pt x="356" y="697"/>
                  </a:cubicBezTo>
                  <a:cubicBezTo>
                    <a:pt x="331" y="711"/>
                    <a:pt x="301" y="711"/>
                    <a:pt x="276" y="697"/>
                  </a:cubicBezTo>
                  <a:cubicBezTo>
                    <a:pt x="40" y="561"/>
                    <a:pt x="40" y="561"/>
                    <a:pt x="40" y="561"/>
                  </a:cubicBezTo>
                  <a:cubicBezTo>
                    <a:pt x="15" y="547"/>
                    <a:pt x="0" y="520"/>
                    <a:pt x="0" y="492"/>
                  </a:cubicBezTo>
                  <a:cubicBezTo>
                    <a:pt x="0" y="220"/>
                    <a:pt x="0" y="220"/>
                    <a:pt x="0" y="220"/>
                  </a:cubicBezTo>
                  <a:cubicBezTo>
                    <a:pt x="0" y="191"/>
                    <a:pt x="15" y="165"/>
                    <a:pt x="40" y="150"/>
                  </a:cubicBezTo>
                  <a:cubicBezTo>
                    <a:pt x="275" y="14"/>
                    <a:pt x="275" y="14"/>
                    <a:pt x="275" y="14"/>
                  </a:cubicBezTo>
                  <a:cubicBezTo>
                    <a:pt x="300" y="0"/>
                    <a:pt x="330" y="0"/>
                    <a:pt x="355" y="14"/>
                  </a:cubicBezTo>
                  <a:cubicBezTo>
                    <a:pt x="591" y="150"/>
                    <a:pt x="591" y="150"/>
                    <a:pt x="591" y="150"/>
                  </a:cubicBezTo>
                  <a:cubicBezTo>
                    <a:pt x="615" y="164"/>
                    <a:pt x="631" y="191"/>
                    <a:pt x="631" y="219"/>
                  </a:cubicBezTo>
                  <a:cubicBezTo>
                    <a:pt x="631" y="491"/>
                    <a:pt x="631" y="491"/>
                    <a:pt x="631" y="491"/>
                  </a:cubicBezTo>
                  <a:cubicBezTo>
                    <a:pt x="631" y="520"/>
                    <a:pt x="616" y="546"/>
                    <a:pt x="591" y="561"/>
                  </a:cubicBezTo>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Freeform 53"/>
            <p:cNvSpPr>
              <a:spLocks/>
            </p:cNvSpPr>
            <p:nvPr userDrawn="1"/>
          </p:nvSpPr>
          <p:spPr bwMode="auto">
            <a:xfrm>
              <a:off x="10914888" y="3715100"/>
              <a:ext cx="705019" cy="597631"/>
            </a:xfrm>
            <a:custGeom>
              <a:avLst/>
              <a:gdLst>
                <a:gd name="T0" fmla="*/ 0 w 322"/>
                <a:gd name="T1" fmla="*/ 0 h 275"/>
                <a:gd name="T2" fmla="*/ 0 w 322"/>
                <a:gd name="T3" fmla="*/ 189 h 275"/>
                <a:gd name="T4" fmla="*/ 125 w 322"/>
                <a:gd name="T5" fmla="*/ 261 h 275"/>
                <a:gd name="T6" fmla="*/ 205 w 322"/>
                <a:gd name="T7" fmla="*/ 261 h 275"/>
                <a:gd name="T8" fmla="*/ 322 w 322"/>
                <a:gd name="T9" fmla="*/ 193 h 275"/>
                <a:gd name="T10" fmla="*/ 322 w 322"/>
                <a:gd name="T11" fmla="*/ 0 h 275"/>
                <a:gd name="T12" fmla="*/ 0 w 322"/>
                <a:gd name="T13" fmla="*/ 0 h 275"/>
              </a:gdLst>
              <a:ahLst/>
              <a:cxnLst>
                <a:cxn ang="0">
                  <a:pos x="T0" y="T1"/>
                </a:cxn>
                <a:cxn ang="0">
                  <a:pos x="T2" y="T3"/>
                </a:cxn>
                <a:cxn ang="0">
                  <a:pos x="T4" y="T5"/>
                </a:cxn>
                <a:cxn ang="0">
                  <a:pos x="T6" y="T7"/>
                </a:cxn>
                <a:cxn ang="0">
                  <a:pos x="T8" y="T9"/>
                </a:cxn>
                <a:cxn ang="0">
                  <a:pos x="T10" y="T11"/>
                </a:cxn>
                <a:cxn ang="0">
                  <a:pos x="T12" y="T13"/>
                </a:cxn>
              </a:cxnLst>
              <a:rect l="0" t="0" r="r" b="b"/>
              <a:pathLst>
                <a:path w="322" h="275">
                  <a:moveTo>
                    <a:pt x="0" y="0"/>
                  </a:moveTo>
                  <a:cubicBezTo>
                    <a:pt x="0" y="189"/>
                    <a:pt x="0" y="189"/>
                    <a:pt x="0" y="189"/>
                  </a:cubicBezTo>
                  <a:cubicBezTo>
                    <a:pt x="125" y="261"/>
                    <a:pt x="125" y="261"/>
                    <a:pt x="125" y="261"/>
                  </a:cubicBezTo>
                  <a:cubicBezTo>
                    <a:pt x="150" y="275"/>
                    <a:pt x="180" y="275"/>
                    <a:pt x="205" y="261"/>
                  </a:cubicBezTo>
                  <a:cubicBezTo>
                    <a:pt x="322" y="193"/>
                    <a:pt x="322" y="193"/>
                    <a:pt x="322" y="193"/>
                  </a:cubicBezTo>
                  <a:cubicBezTo>
                    <a:pt x="322" y="0"/>
                    <a:pt x="322" y="0"/>
                    <a:pt x="322" y="0"/>
                  </a:cubicBezTo>
                  <a:cubicBezTo>
                    <a:pt x="0" y="0"/>
                    <a:pt x="0" y="0"/>
                    <a:pt x="0" y="0"/>
                  </a:cubicBezTo>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Freeform 54"/>
            <p:cNvSpPr>
              <a:spLocks/>
            </p:cNvSpPr>
            <p:nvPr userDrawn="1"/>
          </p:nvSpPr>
          <p:spPr bwMode="auto">
            <a:xfrm>
              <a:off x="10739801" y="2706597"/>
              <a:ext cx="51359" cy="1010838"/>
            </a:xfrm>
            <a:custGeom>
              <a:avLst/>
              <a:gdLst>
                <a:gd name="T0" fmla="*/ 0 w 22"/>
                <a:gd name="T1" fmla="*/ 0 h 433"/>
                <a:gd name="T2" fmla="*/ 0 w 22"/>
                <a:gd name="T3" fmla="*/ 433 h 433"/>
                <a:gd name="T4" fmla="*/ 22 w 22"/>
                <a:gd name="T5" fmla="*/ 433 h 433"/>
                <a:gd name="T6" fmla="*/ 22 w 22"/>
                <a:gd name="T7" fmla="*/ 429 h 433"/>
                <a:gd name="T8" fmla="*/ 3 w 22"/>
                <a:gd name="T9" fmla="*/ 429 h 433"/>
                <a:gd name="T10" fmla="*/ 3 w 22"/>
                <a:gd name="T11" fmla="*/ 0 h 433"/>
                <a:gd name="T12" fmla="*/ 0 w 22"/>
                <a:gd name="T13" fmla="*/ 0 h 433"/>
                <a:gd name="T14" fmla="*/ 0 w 22"/>
                <a:gd name="T15" fmla="*/ 0 h 4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33">
                  <a:moveTo>
                    <a:pt x="0" y="0"/>
                  </a:moveTo>
                  <a:lnTo>
                    <a:pt x="0" y="433"/>
                  </a:lnTo>
                  <a:lnTo>
                    <a:pt x="22" y="433"/>
                  </a:lnTo>
                  <a:lnTo>
                    <a:pt x="22" y="429"/>
                  </a:lnTo>
                  <a:lnTo>
                    <a:pt x="3" y="429"/>
                  </a:lnTo>
                  <a:lnTo>
                    <a:pt x="3" y="0"/>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65"/>
            <p:cNvSpPr>
              <a:spLocks/>
            </p:cNvSpPr>
            <p:nvPr userDrawn="1"/>
          </p:nvSpPr>
          <p:spPr bwMode="auto">
            <a:xfrm>
              <a:off x="10718789" y="3353252"/>
              <a:ext cx="1090211" cy="751709"/>
            </a:xfrm>
            <a:custGeom>
              <a:avLst/>
              <a:gdLst>
                <a:gd name="T0" fmla="*/ 497 w 498"/>
                <a:gd name="T1" fmla="*/ 298 h 345"/>
                <a:gd name="T2" fmla="*/ 466 w 498"/>
                <a:gd name="T3" fmla="*/ 81 h 345"/>
                <a:gd name="T4" fmla="*/ 371 w 498"/>
                <a:gd name="T5" fmla="*/ 0 h 345"/>
                <a:gd name="T6" fmla="*/ 127 w 498"/>
                <a:gd name="T7" fmla="*/ 0 h 345"/>
                <a:gd name="T8" fmla="*/ 33 w 498"/>
                <a:gd name="T9" fmla="*/ 81 h 345"/>
                <a:gd name="T10" fmla="*/ 0 w 498"/>
                <a:gd name="T11" fmla="*/ 304 h 345"/>
                <a:gd name="T12" fmla="*/ 71 w 498"/>
                <a:gd name="T13" fmla="*/ 345 h 345"/>
                <a:gd name="T14" fmla="*/ 490 w 498"/>
                <a:gd name="T15" fmla="*/ 306 h 345"/>
                <a:gd name="T16" fmla="*/ 497 w 498"/>
                <a:gd name="T17" fmla="*/ 298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8" h="345">
                  <a:moveTo>
                    <a:pt x="497" y="298"/>
                  </a:moveTo>
                  <a:cubicBezTo>
                    <a:pt x="466" y="81"/>
                    <a:pt x="466" y="81"/>
                    <a:pt x="466" y="81"/>
                  </a:cubicBezTo>
                  <a:cubicBezTo>
                    <a:pt x="459" y="34"/>
                    <a:pt x="419" y="0"/>
                    <a:pt x="371" y="0"/>
                  </a:cubicBezTo>
                  <a:cubicBezTo>
                    <a:pt x="127" y="0"/>
                    <a:pt x="127" y="0"/>
                    <a:pt x="127" y="0"/>
                  </a:cubicBezTo>
                  <a:cubicBezTo>
                    <a:pt x="80" y="0"/>
                    <a:pt x="40" y="34"/>
                    <a:pt x="33" y="81"/>
                  </a:cubicBezTo>
                  <a:cubicBezTo>
                    <a:pt x="0" y="304"/>
                    <a:pt x="0" y="304"/>
                    <a:pt x="0" y="304"/>
                  </a:cubicBezTo>
                  <a:cubicBezTo>
                    <a:pt x="71" y="345"/>
                    <a:pt x="71" y="345"/>
                    <a:pt x="71" y="345"/>
                  </a:cubicBezTo>
                  <a:cubicBezTo>
                    <a:pt x="490" y="306"/>
                    <a:pt x="490" y="306"/>
                    <a:pt x="490" y="306"/>
                  </a:cubicBezTo>
                  <a:cubicBezTo>
                    <a:pt x="494" y="306"/>
                    <a:pt x="498" y="302"/>
                    <a:pt x="497" y="298"/>
                  </a:cubicBezTo>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66"/>
            <p:cNvSpPr>
              <a:spLocks/>
            </p:cNvSpPr>
            <p:nvPr userDrawn="1"/>
          </p:nvSpPr>
          <p:spPr bwMode="auto">
            <a:xfrm>
              <a:off x="10744470" y="3353252"/>
              <a:ext cx="1041186" cy="492580"/>
            </a:xfrm>
            <a:custGeom>
              <a:avLst/>
              <a:gdLst>
                <a:gd name="T0" fmla="*/ 475 w 475"/>
                <a:gd name="T1" fmla="*/ 226 h 226"/>
                <a:gd name="T2" fmla="*/ 454 w 475"/>
                <a:gd name="T3" fmla="*/ 81 h 226"/>
                <a:gd name="T4" fmla="*/ 359 w 475"/>
                <a:gd name="T5" fmla="*/ 0 h 226"/>
                <a:gd name="T6" fmla="*/ 115 w 475"/>
                <a:gd name="T7" fmla="*/ 0 h 226"/>
                <a:gd name="T8" fmla="*/ 21 w 475"/>
                <a:gd name="T9" fmla="*/ 81 h 226"/>
                <a:gd name="T10" fmla="*/ 0 w 475"/>
                <a:gd name="T11" fmla="*/ 226 h 226"/>
                <a:gd name="T12" fmla="*/ 475 w 475"/>
                <a:gd name="T13" fmla="*/ 226 h 226"/>
              </a:gdLst>
              <a:ahLst/>
              <a:cxnLst>
                <a:cxn ang="0">
                  <a:pos x="T0" y="T1"/>
                </a:cxn>
                <a:cxn ang="0">
                  <a:pos x="T2" y="T3"/>
                </a:cxn>
                <a:cxn ang="0">
                  <a:pos x="T4" y="T5"/>
                </a:cxn>
                <a:cxn ang="0">
                  <a:pos x="T6" y="T7"/>
                </a:cxn>
                <a:cxn ang="0">
                  <a:pos x="T8" y="T9"/>
                </a:cxn>
                <a:cxn ang="0">
                  <a:pos x="T10" y="T11"/>
                </a:cxn>
                <a:cxn ang="0">
                  <a:pos x="T12" y="T13"/>
                </a:cxn>
              </a:cxnLst>
              <a:rect l="0" t="0" r="r" b="b"/>
              <a:pathLst>
                <a:path w="475" h="226">
                  <a:moveTo>
                    <a:pt x="475" y="226"/>
                  </a:moveTo>
                  <a:cubicBezTo>
                    <a:pt x="454" y="81"/>
                    <a:pt x="454" y="81"/>
                    <a:pt x="454" y="81"/>
                  </a:cubicBezTo>
                  <a:cubicBezTo>
                    <a:pt x="447" y="34"/>
                    <a:pt x="407" y="0"/>
                    <a:pt x="359" y="0"/>
                  </a:cubicBezTo>
                  <a:cubicBezTo>
                    <a:pt x="115" y="0"/>
                    <a:pt x="115" y="0"/>
                    <a:pt x="115" y="0"/>
                  </a:cubicBezTo>
                  <a:cubicBezTo>
                    <a:pt x="68" y="0"/>
                    <a:pt x="28" y="34"/>
                    <a:pt x="21" y="81"/>
                  </a:cubicBezTo>
                  <a:cubicBezTo>
                    <a:pt x="0" y="226"/>
                    <a:pt x="0" y="226"/>
                    <a:pt x="0" y="226"/>
                  </a:cubicBezTo>
                  <a:cubicBezTo>
                    <a:pt x="475" y="226"/>
                    <a:pt x="475" y="226"/>
                    <a:pt x="475" y="226"/>
                  </a:cubicBezTo>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67"/>
            <p:cNvSpPr>
              <a:spLocks/>
            </p:cNvSpPr>
            <p:nvPr userDrawn="1"/>
          </p:nvSpPr>
          <p:spPr bwMode="auto">
            <a:xfrm>
              <a:off x="11040951" y="3152484"/>
              <a:ext cx="450559" cy="424879"/>
            </a:xfrm>
            <a:custGeom>
              <a:avLst/>
              <a:gdLst>
                <a:gd name="T0" fmla="*/ 172 w 206"/>
                <a:gd name="T1" fmla="*/ 73 h 195"/>
                <a:gd name="T2" fmla="*/ 172 w 206"/>
                <a:gd name="T3" fmla="*/ 0 h 195"/>
                <a:gd name="T4" fmla="*/ 33 w 206"/>
                <a:gd name="T5" fmla="*/ 0 h 195"/>
                <a:gd name="T6" fmla="*/ 33 w 206"/>
                <a:gd name="T7" fmla="*/ 73 h 195"/>
                <a:gd name="T8" fmla="*/ 14 w 206"/>
                <a:gd name="T9" fmla="*/ 92 h 195"/>
                <a:gd name="T10" fmla="*/ 0 w 206"/>
                <a:gd name="T11" fmla="*/ 92 h 195"/>
                <a:gd name="T12" fmla="*/ 103 w 206"/>
                <a:gd name="T13" fmla="*/ 195 h 195"/>
                <a:gd name="T14" fmla="*/ 206 w 206"/>
                <a:gd name="T15" fmla="*/ 92 h 195"/>
                <a:gd name="T16" fmla="*/ 191 w 206"/>
                <a:gd name="T17" fmla="*/ 92 h 195"/>
                <a:gd name="T18" fmla="*/ 172 w 206"/>
                <a:gd name="T19" fmla="*/ 73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195">
                  <a:moveTo>
                    <a:pt x="172" y="73"/>
                  </a:moveTo>
                  <a:cubicBezTo>
                    <a:pt x="172" y="0"/>
                    <a:pt x="172" y="0"/>
                    <a:pt x="172" y="0"/>
                  </a:cubicBezTo>
                  <a:cubicBezTo>
                    <a:pt x="33" y="0"/>
                    <a:pt x="33" y="0"/>
                    <a:pt x="33" y="0"/>
                  </a:cubicBezTo>
                  <a:cubicBezTo>
                    <a:pt x="33" y="73"/>
                    <a:pt x="33" y="73"/>
                    <a:pt x="33" y="73"/>
                  </a:cubicBezTo>
                  <a:cubicBezTo>
                    <a:pt x="33" y="83"/>
                    <a:pt x="25" y="92"/>
                    <a:pt x="14" y="92"/>
                  </a:cubicBezTo>
                  <a:cubicBezTo>
                    <a:pt x="0" y="92"/>
                    <a:pt x="0" y="92"/>
                    <a:pt x="0" y="92"/>
                  </a:cubicBezTo>
                  <a:cubicBezTo>
                    <a:pt x="0" y="148"/>
                    <a:pt x="46" y="195"/>
                    <a:pt x="103" y="195"/>
                  </a:cubicBezTo>
                  <a:cubicBezTo>
                    <a:pt x="159" y="195"/>
                    <a:pt x="206" y="148"/>
                    <a:pt x="206" y="92"/>
                  </a:cubicBezTo>
                  <a:cubicBezTo>
                    <a:pt x="191" y="92"/>
                    <a:pt x="191" y="92"/>
                    <a:pt x="191" y="92"/>
                  </a:cubicBezTo>
                  <a:cubicBezTo>
                    <a:pt x="180" y="92"/>
                    <a:pt x="172" y="83"/>
                    <a:pt x="172" y="73"/>
                  </a:cubicBezTo>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68"/>
            <p:cNvSpPr>
              <a:spLocks/>
            </p:cNvSpPr>
            <p:nvPr userDrawn="1"/>
          </p:nvSpPr>
          <p:spPr bwMode="auto">
            <a:xfrm>
              <a:off x="11113320" y="3147815"/>
              <a:ext cx="303486" cy="182090"/>
            </a:xfrm>
            <a:custGeom>
              <a:avLst/>
              <a:gdLst>
                <a:gd name="T0" fmla="*/ 139 w 139"/>
                <a:gd name="T1" fmla="*/ 21 h 84"/>
                <a:gd name="T2" fmla="*/ 139 w 139"/>
                <a:gd name="T3" fmla="*/ 0 h 84"/>
                <a:gd name="T4" fmla="*/ 0 w 139"/>
                <a:gd name="T5" fmla="*/ 0 h 84"/>
                <a:gd name="T6" fmla="*/ 0 w 139"/>
                <a:gd name="T7" fmla="*/ 82 h 84"/>
                <a:gd name="T8" fmla="*/ 139 w 139"/>
                <a:gd name="T9" fmla="*/ 21 h 84"/>
              </a:gdLst>
              <a:ahLst/>
              <a:cxnLst>
                <a:cxn ang="0">
                  <a:pos x="T0" y="T1"/>
                </a:cxn>
                <a:cxn ang="0">
                  <a:pos x="T2" y="T3"/>
                </a:cxn>
                <a:cxn ang="0">
                  <a:pos x="T4" y="T5"/>
                </a:cxn>
                <a:cxn ang="0">
                  <a:pos x="T6" y="T7"/>
                </a:cxn>
                <a:cxn ang="0">
                  <a:pos x="T8" y="T9"/>
                </a:cxn>
              </a:cxnLst>
              <a:rect l="0" t="0" r="r" b="b"/>
              <a:pathLst>
                <a:path w="139" h="84">
                  <a:moveTo>
                    <a:pt x="139" y="21"/>
                  </a:moveTo>
                  <a:cubicBezTo>
                    <a:pt x="139" y="0"/>
                    <a:pt x="139" y="0"/>
                    <a:pt x="139" y="0"/>
                  </a:cubicBezTo>
                  <a:cubicBezTo>
                    <a:pt x="0" y="0"/>
                    <a:pt x="0" y="0"/>
                    <a:pt x="0" y="0"/>
                  </a:cubicBezTo>
                  <a:cubicBezTo>
                    <a:pt x="0" y="82"/>
                    <a:pt x="0" y="82"/>
                    <a:pt x="0" y="82"/>
                  </a:cubicBezTo>
                  <a:cubicBezTo>
                    <a:pt x="95" y="84"/>
                    <a:pt x="139" y="21"/>
                    <a:pt x="139" y="21"/>
                  </a:cubicBezTo>
                  <a:close/>
                </a:path>
              </a:pathLst>
            </a:custGeom>
            <a:solidFill>
              <a:srgbClr val="B38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69"/>
            <p:cNvSpPr>
              <a:spLocks/>
            </p:cNvSpPr>
            <p:nvPr userDrawn="1"/>
          </p:nvSpPr>
          <p:spPr bwMode="auto">
            <a:xfrm>
              <a:off x="10921891" y="2505829"/>
              <a:ext cx="737701" cy="730699"/>
            </a:xfrm>
            <a:custGeom>
              <a:avLst/>
              <a:gdLst>
                <a:gd name="T0" fmla="*/ 329 w 336"/>
                <a:gd name="T1" fmla="*/ 179 h 335"/>
                <a:gd name="T2" fmla="*/ 156 w 336"/>
                <a:gd name="T3" fmla="*/ 328 h 335"/>
                <a:gd name="T4" fmla="*/ 7 w 336"/>
                <a:gd name="T5" fmla="*/ 155 h 335"/>
                <a:gd name="T6" fmla="*/ 180 w 336"/>
                <a:gd name="T7" fmla="*/ 6 h 335"/>
                <a:gd name="T8" fmla="*/ 329 w 336"/>
                <a:gd name="T9" fmla="*/ 179 h 335"/>
              </a:gdLst>
              <a:ahLst/>
              <a:cxnLst>
                <a:cxn ang="0">
                  <a:pos x="T0" y="T1"/>
                </a:cxn>
                <a:cxn ang="0">
                  <a:pos x="T2" y="T3"/>
                </a:cxn>
                <a:cxn ang="0">
                  <a:pos x="T4" y="T5"/>
                </a:cxn>
                <a:cxn ang="0">
                  <a:pos x="T6" y="T7"/>
                </a:cxn>
                <a:cxn ang="0">
                  <a:pos x="T8" y="T9"/>
                </a:cxn>
              </a:cxnLst>
              <a:rect l="0" t="0" r="r" b="b"/>
              <a:pathLst>
                <a:path w="336" h="335">
                  <a:moveTo>
                    <a:pt x="329" y="179"/>
                  </a:moveTo>
                  <a:cubicBezTo>
                    <a:pt x="322" y="268"/>
                    <a:pt x="245" y="335"/>
                    <a:pt x="156" y="328"/>
                  </a:cubicBezTo>
                  <a:cubicBezTo>
                    <a:pt x="67" y="321"/>
                    <a:pt x="0" y="244"/>
                    <a:pt x="7" y="155"/>
                  </a:cubicBezTo>
                  <a:cubicBezTo>
                    <a:pt x="14" y="66"/>
                    <a:pt x="91" y="0"/>
                    <a:pt x="180" y="6"/>
                  </a:cubicBezTo>
                  <a:cubicBezTo>
                    <a:pt x="269" y="13"/>
                    <a:pt x="336" y="91"/>
                    <a:pt x="329" y="179"/>
                  </a:cubicBezTo>
                  <a:close/>
                </a:path>
              </a:pathLst>
            </a:custGeom>
            <a:solidFill>
              <a:srgbClr val="BD36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70"/>
            <p:cNvSpPr>
              <a:spLocks/>
            </p:cNvSpPr>
            <p:nvPr userDrawn="1"/>
          </p:nvSpPr>
          <p:spPr bwMode="auto">
            <a:xfrm>
              <a:off x="10961578" y="2704262"/>
              <a:ext cx="525263" cy="578955"/>
            </a:xfrm>
            <a:custGeom>
              <a:avLst/>
              <a:gdLst>
                <a:gd name="T0" fmla="*/ 99 w 239"/>
                <a:gd name="T1" fmla="*/ 261 h 265"/>
                <a:gd name="T2" fmla="*/ 99 w 239"/>
                <a:gd name="T3" fmla="*/ 261 h 265"/>
                <a:gd name="T4" fmla="*/ 4 w 239"/>
                <a:gd name="T5" fmla="*/ 137 h 265"/>
                <a:gd name="T6" fmla="*/ 14 w 239"/>
                <a:gd name="T7" fmla="*/ 0 h 265"/>
                <a:gd name="T8" fmla="*/ 239 w 239"/>
                <a:gd name="T9" fmla="*/ 17 h 265"/>
                <a:gd name="T10" fmla="*/ 229 w 239"/>
                <a:gd name="T11" fmla="*/ 154 h 265"/>
                <a:gd name="T12" fmla="*/ 99 w 239"/>
                <a:gd name="T13" fmla="*/ 261 h 265"/>
              </a:gdLst>
              <a:ahLst/>
              <a:cxnLst>
                <a:cxn ang="0">
                  <a:pos x="T0" y="T1"/>
                </a:cxn>
                <a:cxn ang="0">
                  <a:pos x="T2" y="T3"/>
                </a:cxn>
                <a:cxn ang="0">
                  <a:pos x="T4" y="T5"/>
                </a:cxn>
                <a:cxn ang="0">
                  <a:pos x="T6" y="T7"/>
                </a:cxn>
                <a:cxn ang="0">
                  <a:pos x="T8" y="T9"/>
                </a:cxn>
                <a:cxn ang="0">
                  <a:pos x="T10" y="T11"/>
                </a:cxn>
                <a:cxn ang="0">
                  <a:pos x="T12" y="T13"/>
                </a:cxn>
              </a:cxnLst>
              <a:rect l="0" t="0" r="r" b="b"/>
              <a:pathLst>
                <a:path w="239" h="265">
                  <a:moveTo>
                    <a:pt x="99" y="261"/>
                  </a:moveTo>
                  <a:cubicBezTo>
                    <a:pt x="99" y="261"/>
                    <a:pt x="99" y="261"/>
                    <a:pt x="99" y="261"/>
                  </a:cubicBezTo>
                  <a:cubicBezTo>
                    <a:pt x="42" y="256"/>
                    <a:pt x="0" y="195"/>
                    <a:pt x="4" y="137"/>
                  </a:cubicBezTo>
                  <a:cubicBezTo>
                    <a:pt x="14" y="0"/>
                    <a:pt x="14" y="0"/>
                    <a:pt x="14" y="0"/>
                  </a:cubicBezTo>
                  <a:cubicBezTo>
                    <a:pt x="239" y="17"/>
                    <a:pt x="239" y="17"/>
                    <a:pt x="239" y="17"/>
                  </a:cubicBezTo>
                  <a:cubicBezTo>
                    <a:pt x="229" y="154"/>
                    <a:pt x="229" y="154"/>
                    <a:pt x="229" y="154"/>
                  </a:cubicBezTo>
                  <a:cubicBezTo>
                    <a:pt x="224" y="227"/>
                    <a:pt x="156" y="265"/>
                    <a:pt x="99" y="261"/>
                  </a:cubicBez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71"/>
            <p:cNvSpPr>
              <a:spLocks/>
            </p:cNvSpPr>
            <p:nvPr userDrawn="1"/>
          </p:nvSpPr>
          <p:spPr bwMode="auto">
            <a:xfrm>
              <a:off x="10963912" y="2827991"/>
              <a:ext cx="284810" cy="427214"/>
            </a:xfrm>
            <a:custGeom>
              <a:avLst/>
              <a:gdLst>
                <a:gd name="T0" fmla="*/ 87 w 130"/>
                <a:gd name="T1" fmla="*/ 98 h 196"/>
                <a:gd name="T2" fmla="*/ 80 w 130"/>
                <a:gd name="T3" fmla="*/ 89 h 196"/>
                <a:gd name="T4" fmla="*/ 83 w 130"/>
                <a:gd name="T5" fmla="*/ 83 h 196"/>
                <a:gd name="T6" fmla="*/ 99 w 130"/>
                <a:gd name="T7" fmla="*/ 43 h 196"/>
                <a:gd name="T8" fmla="*/ 100 w 130"/>
                <a:gd name="T9" fmla="*/ 36 h 196"/>
                <a:gd name="T10" fmla="*/ 76 w 130"/>
                <a:gd name="T11" fmla="*/ 5 h 196"/>
                <a:gd name="T12" fmla="*/ 9 w 130"/>
                <a:gd name="T13" fmla="*/ 0 h 196"/>
                <a:gd name="T14" fmla="*/ 8 w 130"/>
                <a:gd name="T15" fmla="*/ 20 h 196"/>
                <a:gd name="T16" fmla="*/ 5 w 130"/>
                <a:gd name="T17" fmla="*/ 60 h 196"/>
                <a:gd name="T18" fmla="*/ 3 w 130"/>
                <a:gd name="T19" fmla="*/ 81 h 196"/>
                <a:gd name="T20" fmla="*/ 59 w 130"/>
                <a:gd name="T21" fmla="*/ 192 h 196"/>
                <a:gd name="T22" fmla="*/ 67 w 130"/>
                <a:gd name="T23" fmla="*/ 196 h 196"/>
                <a:gd name="T24" fmla="*/ 92 w 130"/>
                <a:gd name="T25" fmla="*/ 130 h 196"/>
                <a:gd name="T26" fmla="*/ 108 w 130"/>
                <a:gd name="T27" fmla="*/ 113 h 196"/>
                <a:gd name="T28" fmla="*/ 130 w 130"/>
                <a:gd name="T29" fmla="*/ 101 h 196"/>
                <a:gd name="T30" fmla="*/ 87 w 130"/>
                <a:gd name="T31" fmla="*/ 9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0" h="196">
                  <a:moveTo>
                    <a:pt x="87" y="98"/>
                  </a:moveTo>
                  <a:cubicBezTo>
                    <a:pt x="82" y="98"/>
                    <a:pt x="79" y="94"/>
                    <a:pt x="80" y="89"/>
                  </a:cubicBezTo>
                  <a:cubicBezTo>
                    <a:pt x="80" y="87"/>
                    <a:pt x="81" y="85"/>
                    <a:pt x="83" y="83"/>
                  </a:cubicBezTo>
                  <a:cubicBezTo>
                    <a:pt x="90" y="71"/>
                    <a:pt x="96" y="57"/>
                    <a:pt x="99" y="43"/>
                  </a:cubicBezTo>
                  <a:cubicBezTo>
                    <a:pt x="100" y="36"/>
                    <a:pt x="100" y="36"/>
                    <a:pt x="100" y="36"/>
                  </a:cubicBezTo>
                  <a:cubicBezTo>
                    <a:pt x="103" y="21"/>
                    <a:pt x="92" y="7"/>
                    <a:pt x="76" y="5"/>
                  </a:cubicBezTo>
                  <a:cubicBezTo>
                    <a:pt x="9" y="0"/>
                    <a:pt x="9" y="0"/>
                    <a:pt x="9" y="0"/>
                  </a:cubicBezTo>
                  <a:cubicBezTo>
                    <a:pt x="8" y="20"/>
                    <a:pt x="8" y="20"/>
                    <a:pt x="8" y="20"/>
                  </a:cubicBezTo>
                  <a:cubicBezTo>
                    <a:pt x="5" y="60"/>
                    <a:pt x="5" y="60"/>
                    <a:pt x="5" y="60"/>
                  </a:cubicBezTo>
                  <a:cubicBezTo>
                    <a:pt x="3" y="81"/>
                    <a:pt x="3" y="81"/>
                    <a:pt x="3" y="81"/>
                  </a:cubicBezTo>
                  <a:cubicBezTo>
                    <a:pt x="0" y="125"/>
                    <a:pt x="23" y="170"/>
                    <a:pt x="59" y="192"/>
                  </a:cubicBezTo>
                  <a:cubicBezTo>
                    <a:pt x="61" y="193"/>
                    <a:pt x="64" y="195"/>
                    <a:pt x="67" y="196"/>
                  </a:cubicBezTo>
                  <a:cubicBezTo>
                    <a:pt x="92" y="130"/>
                    <a:pt x="92" y="130"/>
                    <a:pt x="92" y="130"/>
                  </a:cubicBezTo>
                  <a:cubicBezTo>
                    <a:pt x="95" y="123"/>
                    <a:pt x="101" y="117"/>
                    <a:pt x="108" y="113"/>
                  </a:cubicBezTo>
                  <a:cubicBezTo>
                    <a:pt x="130" y="101"/>
                    <a:pt x="130" y="101"/>
                    <a:pt x="130" y="101"/>
                  </a:cubicBezTo>
                  <a:lnTo>
                    <a:pt x="87" y="98"/>
                  </a:lnTo>
                  <a:close/>
                </a:path>
              </a:pathLst>
            </a:custGeom>
            <a:solidFill>
              <a:srgbClr val="B38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6" name="Freeform 72"/>
            <p:cNvSpPr>
              <a:spLocks/>
            </p:cNvSpPr>
            <p:nvPr userDrawn="1"/>
          </p:nvSpPr>
          <p:spPr bwMode="auto">
            <a:xfrm>
              <a:off x="11080637" y="3110463"/>
              <a:ext cx="196097" cy="86377"/>
            </a:xfrm>
            <a:custGeom>
              <a:avLst/>
              <a:gdLst>
                <a:gd name="T0" fmla="*/ 90 w 90"/>
                <a:gd name="T1" fmla="*/ 7 h 40"/>
                <a:gd name="T2" fmla="*/ 42 w 90"/>
                <a:gd name="T3" fmla="*/ 39 h 40"/>
                <a:gd name="T4" fmla="*/ 0 w 90"/>
                <a:gd name="T5" fmla="*/ 0 h 40"/>
                <a:gd name="T6" fmla="*/ 90 w 90"/>
                <a:gd name="T7" fmla="*/ 7 h 40"/>
              </a:gdLst>
              <a:ahLst/>
              <a:cxnLst>
                <a:cxn ang="0">
                  <a:pos x="T0" y="T1"/>
                </a:cxn>
                <a:cxn ang="0">
                  <a:pos x="T2" y="T3"/>
                </a:cxn>
                <a:cxn ang="0">
                  <a:pos x="T4" y="T5"/>
                </a:cxn>
                <a:cxn ang="0">
                  <a:pos x="T6" y="T7"/>
                </a:cxn>
              </a:cxnLst>
              <a:rect l="0" t="0" r="r" b="b"/>
              <a:pathLst>
                <a:path w="90" h="40">
                  <a:moveTo>
                    <a:pt x="90" y="7"/>
                  </a:moveTo>
                  <a:cubicBezTo>
                    <a:pt x="79" y="27"/>
                    <a:pt x="61" y="40"/>
                    <a:pt x="42" y="39"/>
                  </a:cubicBezTo>
                  <a:cubicBezTo>
                    <a:pt x="23" y="37"/>
                    <a:pt x="7" y="22"/>
                    <a:pt x="0" y="0"/>
                  </a:cubicBezTo>
                  <a:lnTo>
                    <a:pt x="90" y="7"/>
                  </a:lnTo>
                  <a:close/>
                </a:path>
              </a:pathLst>
            </a:custGeom>
            <a:solidFill>
              <a:srgbClr val="EE4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7" name="Freeform 73"/>
            <p:cNvSpPr>
              <a:spLocks/>
            </p:cNvSpPr>
            <p:nvPr userDrawn="1"/>
          </p:nvSpPr>
          <p:spPr bwMode="auto">
            <a:xfrm>
              <a:off x="11080637" y="3110463"/>
              <a:ext cx="196097" cy="70035"/>
            </a:xfrm>
            <a:custGeom>
              <a:avLst/>
              <a:gdLst>
                <a:gd name="T0" fmla="*/ 90 w 90"/>
                <a:gd name="T1" fmla="*/ 7 h 32"/>
                <a:gd name="T2" fmla="*/ 43 w 90"/>
                <a:gd name="T3" fmla="*/ 30 h 32"/>
                <a:gd name="T4" fmla="*/ 0 w 90"/>
                <a:gd name="T5" fmla="*/ 0 h 32"/>
                <a:gd name="T6" fmla="*/ 90 w 90"/>
                <a:gd name="T7" fmla="*/ 7 h 32"/>
              </a:gdLst>
              <a:ahLst/>
              <a:cxnLst>
                <a:cxn ang="0">
                  <a:pos x="T0" y="T1"/>
                </a:cxn>
                <a:cxn ang="0">
                  <a:pos x="T2" y="T3"/>
                </a:cxn>
                <a:cxn ang="0">
                  <a:pos x="T4" y="T5"/>
                </a:cxn>
                <a:cxn ang="0">
                  <a:pos x="T6" y="T7"/>
                </a:cxn>
              </a:cxnLst>
              <a:rect l="0" t="0" r="r" b="b"/>
              <a:pathLst>
                <a:path w="90" h="32">
                  <a:moveTo>
                    <a:pt x="90" y="7"/>
                  </a:moveTo>
                  <a:cubicBezTo>
                    <a:pt x="79" y="27"/>
                    <a:pt x="62" y="32"/>
                    <a:pt x="43" y="30"/>
                  </a:cubicBezTo>
                  <a:cubicBezTo>
                    <a:pt x="23" y="29"/>
                    <a:pt x="7" y="22"/>
                    <a:pt x="0" y="0"/>
                  </a:cubicBezTo>
                  <a:lnTo>
                    <a:pt x="9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8" name="Freeform 74"/>
            <p:cNvSpPr>
              <a:spLocks/>
            </p:cNvSpPr>
            <p:nvPr userDrawn="1"/>
          </p:nvSpPr>
          <p:spPr bwMode="auto">
            <a:xfrm>
              <a:off x="11295410" y="2921370"/>
              <a:ext cx="56028" cy="49025"/>
            </a:xfrm>
            <a:custGeom>
              <a:avLst/>
              <a:gdLst>
                <a:gd name="T0" fmla="*/ 1 w 26"/>
                <a:gd name="T1" fmla="*/ 12 h 23"/>
                <a:gd name="T2" fmla="*/ 14 w 26"/>
                <a:gd name="T3" fmla="*/ 1 h 23"/>
                <a:gd name="T4" fmla="*/ 25 w 26"/>
                <a:gd name="T5" fmla="*/ 14 h 23"/>
                <a:gd name="T6" fmla="*/ 20 w 26"/>
                <a:gd name="T7" fmla="*/ 23 h 23"/>
                <a:gd name="T8" fmla="*/ 4 w 26"/>
                <a:gd name="T9" fmla="*/ 22 h 23"/>
                <a:gd name="T10" fmla="*/ 1 w 26"/>
                <a:gd name="T11" fmla="*/ 12 h 23"/>
              </a:gdLst>
              <a:ahLst/>
              <a:cxnLst>
                <a:cxn ang="0">
                  <a:pos x="T0" y="T1"/>
                </a:cxn>
                <a:cxn ang="0">
                  <a:pos x="T2" y="T3"/>
                </a:cxn>
                <a:cxn ang="0">
                  <a:pos x="T4" y="T5"/>
                </a:cxn>
                <a:cxn ang="0">
                  <a:pos x="T6" y="T7"/>
                </a:cxn>
                <a:cxn ang="0">
                  <a:pos x="T8" y="T9"/>
                </a:cxn>
                <a:cxn ang="0">
                  <a:pos x="T10" y="T11"/>
                </a:cxn>
              </a:cxnLst>
              <a:rect l="0" t="0" r="r" b="b"/>
              <a:pathLst>
                <a:path w="26" h="23">
                  <a:moveTo>
                    <a:pt x="1" y="12"/>
                  </a:moveTo>
                  <a:cubicBezTo>
                    <a:pt x="1" y="5"/>
                    <a:pt x="7" y="0"/>
                    <a:pt x="14" y="1"/>
                  </a:cubicBezTo>
                  <a:cubicBezTo>
                    <a:pt x="21" y="1"/>
                    <a:pt x="26" y="7"/>
                    <a:pt x="25" y="14"/>
                  </a:cubicBezTo>
                  <a:cubicBezTo>
                    <a:pt x="25" y="18"/>
                    <a:pt x="23" y="21"/>
                    <a:pt x="20" y="23"/>
                  </a:cubicBezTo>
                  <a:cubicBezTo>
                    <a:pt x="4" y="22"/>
                    <a:pt x="4" y="22"/>
                    <a:pt x="4" y="22"/>
                  </a:cubicBezTo>
                  <a:cubicBezTo>
                    <a:pt x="2" y="19"/>
                    <a:pt x="0" y="16"/>
                    <a:pt x="1"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9" name="Freeform 75"/>
            <p:cNvSpPr>
              <a:spLocks/>
            </p:cNvSpPr>
            <p:nvPr userDrawn="1"/>
          </p:nvSpPr>
          <p:spPr bwMode="auto">
            <a:xfrm>
              <a:off x="11029278" y="2900359"/>
              <a:ext cx="56028" cy="51359"/>
            </a:xfrm>
            <a:custGeom>
              <a:avLst/>
              <a:gdLst>
                <a:gd name="T0" fmla="*/ 0 w 25"/>
                <a:gd name="T1" fmla="*/ 12 h 23"/>
                <a:gd name="T2" fmla="*/ 14 w 25"/>
                <a:gd name="T3" fmla="*/ 1 h 23"/>
                <a:gd name="T4" fmla="*/ 25 w 25"/>
                <a:gd name="T5" fmla="*/ 14 h 23"/>
                <a:gd name="T6" fmla="*/ 20 w 25"/>
                <a:gd name="T7" fmla="*/ 23 h 23"/>
                <a:gd name="T8" fmla="*/ 4 w 25"/>
                <a:gd name="T9" fmla="*/ 21 h 23"/>
                <a:gd name="T10" fmla="*/ 0 w 25"/>
                <a:gd name="T11" fmla="*/ 12 h 23"/>
              </a:gdLst>
              <a:ahLst/>
              <a:cxnLst>
                <a:cxn ang="0">
                  <a:pos x="T0" y="T1"/>
                </a:cxn>
                <a:cxn ang="0">
                  <a:pos x="T2" y="T3"/>
                </a:cxn>
                <a:cxn ang="0">
                  <a:pos x="T4" y="T5"/>
                </a:cxn>
                <a:cxn ang="0">
                  <a:pos x="T6" y="T7"/>
                </a:cxn>
                <a:cxn ang="0">
                  <a:pos x="T8" y="T9"/>
                </a:cxn>
                <a:cxn ang="0">
                  <a:pos x="T10" y="T11"/>
                </a:cxn>
              </a:cxnLst>
              <a:rect l="0" t="0" r="r" b="b"/>
              <a:pathLst>
                <a:path w="25" h="23">
                  <a:moveTo>
                    <a:pt x="0" y="12"/>
                  </a:moveTo>
                  <a:cubicBezTo>
                    <a:pt x="1" y="5"/>
                    <a:pt x="7" y="0"/>
                    <a:pt x="14" y="1"/>
                  </a:cubicBezTo>
                  <a:cubicBezTo>
                    <a:pt x="20" y="1"/>
                    <a:pt x="25" y="7"/>
                    <a:pt x="25" y="14"/>
                  </a:cubicBezTo>
                  <a:cubicBezTo>
                    <a:pt x="25" y="17"/>
                    <a:pt x="23" y="21"/>
                    <a:pt x="20" y="23"/>
                  </a:cubicBezTo>
                  <a:cubicBezTo>
                    <a:pt x="4" y="21"/>
                    <a:pt x="4" y="21"/>
                    <a:pt x="4" y="21"/>
                  </a:cubicBezTo>
                  <a:cubicBezTo>
                    <a:pt x="1" y="19"/>
                    <a:pt x="0" y="16"/>
                    <a:pt x="0"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0" name="Freeform 76"/>
            <p:cNvSpPr>
              <a:spLocks/>
            </p:cNvSpPr>
            <p:nvPr userDrawn="1"/>
          </p:nvSpPr>
          <p:spPr bwMode="auto">
            <a:xfrm>
              <a:off x="11540533" y="2863007"/>
              <a:ext cx="56028" cy="149407"/>
            </a:xfrm>
            <a:custGeom>
              <a:avLst/>
              <a:gdLst>
                <a:gd name="T0" fmla="*/ 6 w 25"/>
                <a:gd name="T1" fmla="*/ 0 h 69"/>
                <a:gd name="T2" fmla="*/ 24 w 25"/>
                <a:gd name="T3" fmla="*/ 36 h 69"/>
                <a:gd name="T4" fmla="*/ 0 w 25"/>
                <a:gd name="T5" fmla="*/ 69 h 69"/>
                <a:gd name="T6" fmla="*/ 6 w 25"/>
                <a:gd name="T7" fmla="*/ 0 h 69"/>
              </a:gdLst>
              <a:ahLst/>
              <a:cxnLst>
                <a:cxn ang="0">
                  <a:pos x="T0" y="T1"/>
                </a:cxn>
                <a:cxn ang="0">
                  <a:pos x="T2" y="T3"/>
                </a:cxn>
                <a:cxn ang="0">
                  <a:pos x="T4" y="T5"/>
                </a:cxn>
                <a:cxn ang="0">
                  <a:pos x="T6" y="T7"/>
                </a:cxn>
              </a:cxnLst>
              <a:rect l="0" t="0" r="r" b="b"/>
              <a:pathLst>
                <a:path w="25" h="69">
                  <a:moveTo>
                    <a:pt x="6" y="0"/>
                  </a:moveTo>
                  <a:cubicBezTo>
                    <a:pt x="18" y="7"/>
                    <a:pt x="25" y="21"/>
                    <a:pt x="24" y="36"/>
                  </a:cubicBezTo>
                  <a:cubicBezTo>
                    <a:pt x="23" y="51"/>
                    <a:pt x="13" y="64"/>
                    <a:pt x="0" y="69"/>
                  </a:cubicBezTo>
                  <a:lnTo>
                    <a:pt x="6" y="0"/>
                  </a:ln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1" name="Freeform 77"/>
            <p:cNvSpPr>
              <a:spLocks/>
            </p:cNvSpPr>
            <p:nvPr userDrawn="1"/>
          </p:nvSpPr>
          <p:spPr bwMode="auto">
            <a:xfrm>
              <a:off x="11540533" y="2975063"/>
              <a:ext cx="49025" cy="56028"/>
            </a:xfrm>
            <a:custGeom>
              <a:avLst/>
              <a:gdLst>
                <a:gd name="T0" fmla="*/ 21 w 22"/>
                <a:gd name="T1" fmla="*/ 14 h 26"/>
                <a:gd name="T2" fmla="*/ 8 w 22"/>
                <a:gd name="T3" fmla="*/ 25 h 26"/>
                <a:gd name="T4" fmla="*/ 0 w 22"/>
                <a:gd name="T5" fmla="*/ 21 h 26"/>
                <a:gd name="T6" fmla="*/ 1 w 22"/>
                <a:gd name="T7" fmla="*/ 3 h 26"/>
                <a:gd name="T8" fmla="*/ 10 w 22"/>
                <a:gd name="T9" fmla="*/ 0 h 26"/>
                <a:gd name="T10" fmla="*/ 18 w 22"/>
                <a:gd name="T11" fmla="*/ 4 h 26"/>
                <a:gd name="T12" fmla="*/ 21 w 22"/>
                <a:gd name="T13" fmla="*/ 14 h 26"/>
              </a:gdLst>
              <a:ahLst/>
              <a:cxnLst>
                <a:cxn ang="0">
                  <a:pos x="T0" y="T1"/>
                </a:cxn>
                <a:cxn ang="0">
                  <a:pos x="T2" y="T3"/>
                </a:cxn>
                <a:cxn ang="0">
                  <a:pos x="T4" y="T5"/>
                </a:cxn>
                <a:cxn ang="0">
                  <a:pos x="T6" y="T7"/>
                </a:cxn>
                <a:cxn ang="0">
                  <a:pos x="T8" y="T9"/>
                </a:cxn>
                <a:cxn ang="0">
                  <a:pos x="T10" y="T11"/>
                </a:cxn>
                <a:cxn ang="0">
                  <a:pos x="T12" y="T13"/>
                </a:cxn>
              </a:cxnLst>
              <a:rect l="0" t="0" r="r" b="b"/>
              <a:pathLst>
                <a:path w="22" h="26">
                  <a:moveTo>
                    <a:pt x="21" y="14"/>
                  </a:moveTo>
                  <a:cubicBezTo>
                    <a:pt x="21" y="20"/>
                    <a:pt x="15" y="26"/>
                    <a:pt x="8" y="25"/>
                  </a:cubicBezTo>
                  <a:cubicBezTo>
                    <a:pt x="5" y="25"/>
                    <a:pt x="2" y="23"/>
                    <a:pt x="0" y="21"/>
                  </a:cubicBezTo>
                  <a:cubicBezTo>
                    <a:pt x="1" y="3"/>
                    <a:pt x="1" y="3"/>
                    <a:pt x="1" y="3"/>
                  </a:cubicBezTo>
                  <a:cubicBezTo>
                    <a:pt x="4" y="1"/>
                    <a:pt x="7" y="0"/>
                    <a:pt x="10" y="0"/>
                  </a:cubicBezTo>
                  <a:cubicBezTo>
                    <a:pt x="13" y="0"/>
                    <a:pt x="16" y="2"/>
                    <a:pt x="18" y="4"/>
                  </a:cubicBezTo>
                  <a:cubicBezTo>
                    <a:pt x="20" y="6"/>
                    <a:pt x="22" y="10"/>
                    <a:pt x="21" y="14"/>
                  </a:cubicBezTo>
                  <a:close/>
                </a:path>
              </a:pathLst>
            </a:custGeom>
            <a:solidFill>
              <a:srgbClr val="FBB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2" name="Freeform 78"/>
            <p:cNvSpPr>
              <a:spLocks/>
            </p:cNvSpPr>
            <p:nvPr userDrawn="1"/>
          </p:nvSpPr>
          <p:spPr bwMode="auto">
            <a:xfrm>
              <a:off x="11103982" y="2678583"/>
              <a:ext cx="401534" cy="224113"/>
            </a:xfrm>
            <a:custGeom>
              <a:avLst/>
              <a:gdLst>
                <a:gd name="T0" fmla="*/ 0 w 183"/>
                <a:gd name="T1" fmla="*/ 0 h 103"/>
                <a:gd name="T2" fmla="*/ 169 w 183"/>
                <a:gd name="T3" fmla="*/ 103 h 103"/>
                <a:gd name="T4" fmla="*/ 183 w 183"/>
                <a:gd name="T5" fmla="*/ 14 h 103"/>
                <a:gd name="T6" fmla="*/ 0 w 183"/>
                <a:gd name="T7" fmla="*/ 0 h 103"/>
              </a:gdLst>
              <a:ahLst/>
              <a:cxnLst>
                <a:cxn ang="0">
                  <a:pos x="T0" y="T1"/>
                </a:cxn>
                <a:cxn ang="0">
                  <a:pos x="T2" y="T3"/>
                </a:cxn>
                <a:cxn ang="0">
                  <a:pos x="T4" y="T5"/>
                </a:cxn>
                <a:cxn ang="0">
                  <a:pos x="T6" y="T7"/>
                </a:cxn>
              </a:cxnLst>
              <a:rect l="0" t="0" r="r" b="b"/>
              <a:pathLst>
                <a:path w="183" h="103">
                  <a:moveTo>
                    <a:pt x="0" y="0"/>
                  </a:moveTo>
                  <a:cubicBezTo>
                    <a:pt x="0" y="0"/>
                    <a:pt x="40" y="95"/>
                    <a:pt x="169" y="103"/>
                  </a:cubicBezTo>
                  <a:cubicBezTo>
                    <a:pt x="183" y="14"/>
                    <a:pt x="183" y="14"/>
                    <a:pt x="183" y="14"/>
                  </a:cubicBezTo>
                  <a:lnTo>
                    <a:pt x="0" y="0"/>
                  </a:lnTo>
                  <a:close/>
                </a:path>
              </a:pathLst>
            </a:custGeom>
            <a:solidFill>
              <a:srgbClr val="BD36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3" name="Freeform 79"/>
            <p:cNvSpPr>
              <a:spLocks/>
            </p:cNvSpPr>
            <p:nvPr userDrawn="1"/>
          </p:nvSpPr>
          <p:spPr bwMode="auto">
            <a:xfrm>
              <a:off x="10970916" y="2671579"/>
              <a:ext cx="186759" cy="193764"/>
            </a:xfrm>
            <a:custGeom>
              <a:avLst/>
              <a:gdLst>
                <a:gd name="T0" fmla="*/ 80 w 85"/>
                <a:gd name="T1" fmla="*/ 5 h 89"/>
                <a:gd name="T2" fmla="*/ 22 w 85"/>
                <a:gd name="T3" fmla="*/ 0 h 89"/>
                <a:gd name="T4" fmla="*/ 8 w 85"/>
                <a:gd name="T5" fmla="*/ 15 h 89"/>
                <a:gd name="T6" fmla="*/ 5 w 85"/>
                <a:gd name="T7" fmla="*/ 28 h 89"/>
                <a:gd name="T8" fmla="*/ 0 w 85"/>
                <a:gd name="T9" fmla="*/ 89 h 89"/>
                <a:gd name="T10" fmla="*/ 80 w 85"/>
                <a:gd name="T11" fmla="*/ 5 h 89"/>
              </a:gdLst>
              <a:ahLst/>
              <a:cxnLst>
                <a:cxn ang="0">
                  <a:pos x="T0" y="T1"/>
                </a:cxn>
                <a:cxn ang="0">
                  <a:pos x="T2" y="T3"/>
                </a:cxn>
                <a:cxn ang="0">
                  <a:pos x="T4" y="T5"/>
                </a:cxn>
                <a:cxn ang="0">
                  <a:pos x="T6" y="T7"/>
                </a:cxn>
                <a:cxn ang="0">
                  <a:pos x="T8" y="T9"/>
                </a:cxn>
                <a:cxn ang="0">
                  <a:pos x="T10" y="T11"/>
                </a:cxn>
              </a:cxnLst>
              <a:rect l="0" t="0" r="r" b="b"/>
              <a:pathLst>
                <a:path w="85" h="89">
                  <a:moveTo>
                    <a:pt x="80" y="5"/>
                  </a:moveTo>
                  <a:cubicBezTo>
                    <a:pt x="22" y="0"/>
                    <a:pt x="22" y="0"/>
                    <a:pt x="22" y="0"/>
                  </a:cubicBezTo>
                  <a:cubicBezTo>
                    <a:pt x="8" y="15"/>
                    <a:pt x="8" y="15"/>
                    <a:pt x="8" y="15"/>
                  </a:cubicBezTo>
                  <a:cubicBezTo>
                    <a:pt x="5" y="28"/>
                    <a:pt x="5" y="28"/>
                    <a:pt x="5" y="28"/>
                  </a:cubicBezTo>
                  <a:cubicBezTo>
                    <a:pt x="0" y="89"/>
                    <a:pt x="0" y="89"/>
                    <a:pt x="0" y="89"/>
                  </a:cubicBezTo>
                  <a:cubicBezTo>
                    <a:pt x="85" y="66"/>
                    <a:pt x="80" y="5"/>
                    <a:pt x="80" y="5"/>
                  </a:cubicBezTo>
                  <a:close/>
                </a:path>
              </a:pathLst>
            </a:custGeom>
            <a:solidFill>
              <a:srgbClr val="BD36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4" name="Freeform 80"/>
            <p:cNvSpPr>
              <a:spLocks/>
            </p:cNvSpPr>
            <p:nvPr userDrawn="1"/>
          </p:nvSpPr>
          <p:spPr bwMode="auto">
            <a:xfrm>
              <a:off x="11370114" y="2445133"/>
              <a:ext cx="333833" cy="331499"/>
            </a:xfrm>
            <a:custGeom>
              <a:avLst/>
              <a:gdLst>
                <a:gd name="T0" fmla="*/ 150 w 153"/>
                <a:gd name="T1" fmla="*/ 82 h 152"/>
                <a:gd name="T2" fmla="*/ 71 w 153"/>
                <a:gd name="T3" fmla="*/ 149 h 152"/>
                <a:gd name="T4" fmla="*/ 3 w 153"/>
                <a:gd name="T5" fmla="*/ 71 h 152"/>
                <a:gd name="T6" fmla="*/ 82 w 153"/>
                <a:gd name="T7" fmla="*/ 3 h 152"/>
                <a:gd name="T8" fmla="*/ 150 w 153"/>
                <a:gd name="T9" fmla="*/ 82 h 152"/>
              </a:gdLst>
              <a:ahLst/>
              <a:cxnLst>
                <a:cxn ang="0">
                  <a:pos x="T0" y="T1"/>
                </a:cxn>
                <a:cxn ang="0">
                  <a:pos x="T2" y="T3"/>
                </a:cxn>
                <a:cxn ang="0">
                  <a:pos x="T4" y="T5"/>
                </a:cxn>
                <a:cxn ang="0">
                  <a:pos x="T6" y="T7"/>
                </a:cxn>
                <a:cxn ang="0">
                  <a:pos x="T8" y="T9"/>
                </a:cxn>
              </a:cxnLst>
              <a:rect l="0" t="0" r="r" b="b"/>
              <a:pathLst>
                <a:path w="153" h="152">
                  <a:moveTo>
                    <a:pt x="150" y="82"/>
                  </a:moveTo>
                  <a:cubicBezTo>
                    <a:pt x="147" y="122"/>
                    <a:pt x="111" y="152"/>
                    <a:pt x="71" y="149"/>
                  </a:cubicBezTo>
                  <a:cubicBezTo>
                    <a:pt x="31" y="146"/>
                    <a:pt x="0" y="111"/>
                    <a:pt x="3" y="71"/>
                  </a:cubicBezTo>
                  <a:cubicBezTo>
                    <a:pt x="6" y="30"/>
                    <a:pt x="42" y="0"/>
                    <a:pt x="82" y="3"/>
                  </a:cubicBezTo>
                  <a:cubicBezTo>
                    <a:pt x="123" y="6"/>
                    <a:pt x="153" y="41"/>
                    <a:pt x="150" y="82"/>
                  </a:cubicBezTo>
                  <a:close/>
                </a:path>
              </a:pathLst>
            </a:custGeom>
            <a:solidFill>
              <a:srgbClr val="BD36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5" name="Rectangle 81"/>
            <p:cNvSpPr>
              <a:spLocks noChangeArrowheads="1"/>
            </p:cNvSpPr>
            <p:nvPr userDrawn="1"/>
          </p:nvSpPr>
          <p:spPr bwMode="auto">
            <a:xfrm>
              <a:off x="10907884" y="3803811"/>
              <a:ext cx="714357" cy="2147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6" name="Rectangle 82"/>
            <p:cNvSpPr>
              <a:spLocks noChangeArrowheads="1"/>
            </p:cNvSpPr>
            <p:nvPr userDrawn="1"/>
          </p:nvSpPr>
          <p:spPr bwMode="auto">
            <a:xfrm>
              <a:off x="10907884" y="3803811"/>
              <a:ext cx="714357" cy="21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7" name="Freeform 83"/>
            <p:cNvSpPr>
              <a:spLocks/>
            </p:cNvSpPr>
            <p:nvPr userDrawn="1"/>
          </p:nvSpPr>
          <p:spPr bwMode="auto">
            <a:xfrm>
              <a:off x="11358444" y="3353252"/>
              <a:ext cx="427215" cy="492580"/>
            </a:xfrm>
            <a:custGeom>
              <a:avLst/>
              <a:gdLst>
                <a:gd name="T0" fmla="*/ 89 w 195"/>
                <a:gd name="T1" fmla="*/ 0 h 226"/>
                <a:gd name="T2" fmla="*/ 61 w 195"/>
                <a:gd name="T3" fmla="*/ 0 h 226"/>
                <a:gd name="T4" fmla="*/ 0 w 195"/>
                <a:gd name="T5" fmla="*/ 93 h 226"/>
                <a:gd name="T6" fmla="*/ 20 w 195"/>
                <a:gd name="T7" fmla="*/ 207 h 226"/>
                <a:gd name="T8" fmla="*/ 120 w 195"/>
                <a:gd name="T9" fmla="*/ 207 h 226"/>
                <a:gd name="T10" fmla="*/ 120 w 195"/>
                <a:gd name="T11" fmla="*/ 226 h 226"/>
                <a:gd name="T12" fmla="*/ 195 w 195"/>
                <a:gd name="T13" fmla="*/ 226 h 226"/>
                <a:gd name="T14" fmla="*/ 174 w 195"/>
                <a:gd name="T15" fmla="*/ 81 h 226"/>
                <a:gd name="T16" fmla="*/ 89 w 195"/>
                <a:gd name="T17"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226">
                  <a:moveTo>
                    <a:pt x="89" y="0"/>
                  </a:moveTo>
                  <a:cubicBezTo>
                    <a:pt x="61" y="0"/>
                    <a:pt x="61" y="0"/>
                    <a:pt x="61" y="0"/>
                  </a:cubicBezTo>
                  <a:cubicBezTo>
                    <a:pt x="60" y="42"/>
                    <a:pt x="36" y="77"/>
                    <a:pt x="0" y="93"/>
                  </a:cubicBezTo>
                  <a:cubicBezTo>
                    <a:pt x="20" y="207"/>
                    <a:pt x="20" y="207"/>
                    <a:pt x="20" y="207"/>
                  </a:cubicBezTo>
                  <a:cubicBezTo>
                    <a:pt x="120" y="207"/>
                    <a:pt x="120" y="207"/>
                    <a:pt x="120" y="207"/>
                  </a:cubicBezTo>
                  <a:cubicBezTo>
                    <a:pt x="120" y="226"/>
                    <a:pt x="120" y="226"/>
                    <a:pt x="120" y="226"/>
                  </a:cubicBezTo>
                  <a:cubicBezTo>
                    <a:pt x="195" y="226"/>
                    <a:pt x="195" y="226"/>
                    <a:pt x="195" y="226"/>
                  </a:cubicBezTo>
                  <a:cubicBezTo>
                    <a:pt x="174" y="81"/>
                    <a:pt x="174" y="81"/>
                    <a:pt x="174" y="81"/>
                  </a:cubicBezTo>
                  <a:cubicBezTo>
                    <a:pt x="167" y="38"/>
                    <a:pt x="132" y="5"/>
                    <a:pt x="89" y="0"/>
                  </a:cubicBezTo>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8" name="Freeform 84"/>
            <p:cNvSpPr>
              <a:spLocks/>
            </p:cNvSpPr>
            <p:nvPr userDrawn="1"/>
          </p:nvSpPr>
          <p:spPr bwMode="auto">
            <a:xfrm>
              <a:off x="11358444" y="3353252"/>
              <a:ext cx="133067" cy="200768"/>
            </a:xfrm>
            <a:custGeom>
              <a:avLst/>
              <a:gdLst>
                <a:gd name="T0" fmla="*/ 61 w 61"/>
                <a:gd name="T1" fmla="*/ 0 h 93"/>
                <a:gd name="T2" fmla="*/ 60 w 61"/>
                <a:gd name="T3" fmla="*/ 0 h 93"/>
                <a:gd name="T4" fmla="*/ 0 w 61"/>
                <a:gd name="T5" fmla="*/ 93 h 93"/>
                <a:gd name="T6" fmla="*/ 0 w 61"/>
                <a:gd name="T7" fmla="*/ 93 h 93"/>
                <a:gd name="T8" fmla="*/ 61 w 61"/>
                <a:gd name="T9" fmla="*/ 0 h 93"/>
              </a:gdLst>
              <a:ahLst/>
              <a:cxnLst>
                <a:cxn ang="0">
                  <a:pos x="T0" y="T1"/>
                </a:cxn>
                <a:cxn ang="0">
                  <a:pos x="T2" y="T3"/>
                </a:cxn>
                <a:cxn ang="0">
                  <a:pos x="T4" y="T5"/>
                </a:cxn>
                <a:cxn ang="0">
                  <a:pos x="T6" y="T7"/>
                </a:cxn>
                <a:cxn ang="0">
                  <a:pos x="T8" y="T9"/>
                </a:cxn>
              </a:cxnLst>
              <a:rect l="0" t="0" r="r" b="b"/>
              <a:pathLst>
                <a:path w="61" h="93">
                  <a:moveTo>
                    <a:pt x="61" y="0"/>
                  </a:moveTo>
                  <a:cubicBezTo>
                    <a:pt x="60" y="0"/>
                    <a:pt x="60" y="0"/>
                    <a:pt x="60" y="0"/>
                  </a:cubicBezTo>
                  <a:cubicBezTo>
                    <a:pt x="60" y="41"/>
                    <a:pt x="35" y="77"/>
                    <a:pt x="0" y="93"/>
                  </a:cubicBezTo>
                  <a:cubicBezTo>
                    <a:pt x="0" y="93"/>
                    <a:pt x="0" y="93"/>
                    <a:pt x="0" y="93"/>
                  </a:cubicBezTo>
                  <a:cubicBezTo>
                    <a:pt x="36" y="77"/>
                    <a:pt x="60" y="42"/>
                    <a:pt x="61" y="0"/>
                  </a:cubicBezTo>
                </a:path>
              </a:pathLst>
            </a:custGeom>
            <a:solidFill>
              <a:srgbClr val="B089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89" name="Freeform 85"/>
            <p:cNvSpPr>
              <a:spLocks/>
            </p:cNvSpPr>
            <p:nvPr userDrawn="1"/>
          </p:nvSpPr>
          <p:spPr bwMode="auto">
            <a:xfrm>
              <a:off x="11402797" y="3803811"/>
              <a:ext cx="219442" cy="42021"/>
            </a:xfrm>
            <a:custGeom>
              <a:avLst/>
              <a:gdLst>
                <a:gd name="T0" fmla="*/ 94 w 94"/>
                <a:gd name="T1" fmla="*/ 0 h 18"/>
                <a:gd name="T2" fmla="*/ 0 w 94"/>
                <a:gd name="T3" fmla="*/ 0 h 18"/>
                <a:gd name="T4" fmla="*/ 4 w 94"/>
                <a:gd name="T5" fmla="*/ 18 h 18"/>
                <a:gd name="T6" fmla="*/ 94 w 94"/>
                <a:gd name="T7" fmla="*/ 18 h 18"/>
                <a:gd name="T8" fmla="*/ 94 w 94"/>
                <a:gd name="T9" fmla="*/ 0 h 18"/>
              </a:gdLst>
              <a:ahLst/>
              <a:cxnLst>
                <a:cxn ang="0">
                  <a:pos x="T0" y="T1"/>
                </a:cxn>
                <a:cxn ang="0">
                  <a:pos x="T2" y="T3"/>
                </a:cxn>
                <a:cxn ang="0">
                  <a:pos x="T4" y="T5"/>
                </a:cxn>
                <a:cxn ang="0">
                  <a:pos x="T6" y="T7"/>
                </a:cxn>
                <a:cxn ang="0">
                  <a:pos x="T8" y="T9"/>
                </a:cxn>
              </a:cxnLst>
              <a:rect l="0" t="0" r="r" b="b"/>
              <a:pathLst>
                <a:path w="94" h="18">
                  <a:moveTo>
                    <a:pt x="94" y="0"/>
                  </a:moveTo>
                  <a:lnTo>
                    <a:pt x="0" y="0"/>
                  </a:lnTo>
                  <a:lnTo>
                    <a:pt x="4" y="18"/>
                  </a:lnTo>
                  <a:lnTo>
                    <a:pt x="94" y="18"/>
                  </a:lnTo>
                  <a:lnTo>
                    <a:pt x="94"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90" name="Freeform 86"/>
            <p:cNvSpPr>
              <a:spLocks/>
            </p:cNvSpPr>
            <p:nvPr userDrawn="1"/>
          </p:nvSpPr>
          <p:spPr bwMode="auto">
            <a:xfrm>
              <a:off x="11402797" y="3803811"/>
              <a:ext cx="219442" cy="42021"/>
            </a:xfrm>
            <a:custGeom>
              <a:avLst/>
              <a:gdLst>
                <a:gd name="T0" fmla="*/ 94 w 94"/>
                <a:gd name="T1" fmla="*/ 0 h 18"/>
                <a:gd name="T2" fmla="*/ 0 w 94"/>
                <a:gd name="T3" fmla="*/ 0 h 18"/>
                <a:gd name="T4" fmla="*/ 4 w 94"/>
                <a:gd name="T5" fmla="*/ 18 h 18"/>
                <a:gd name="T6" fmla="*/ 94 w 94"/>
                <a:gd name="T7" fmla="*/ 18 h 18"/>
                <a:gd name="T8" fmla="*/ 94 w 94"/>
                <a:gd name="T9" fmla="*/ 0 h 18"/>
              </a:gdLst>
              <a:ahLst/>
              <a:cxnLst>
                <a:cxn ang="0">
                  <a:pos x="T0" y="T1"/>
                </a:cxn>
                <a:cxn ang="0">
                  <a:pos x="T2" y="T3"/>
                </a:cxn>
                <a:cxn ang="0">
                  <a:pos x="T4" y="T5"/>
                </a:cxn>
                <a:cxn ang="0">
                  <a:pos x="T6" y="T7"/>
                </a:cxn>
                <a:cxn ang="0">
                  <a:pos x="T8" y="T9"/>
                </a:cxn>
              </a:cxnLst>
              <a:rect l="0" t="0" r="r" b="b"/>
              <a:pathLst>
                <a:path w="94" h="18">
                  <a:moveTo>
                    <a:pt x="94" y="0"/>
                  </a:moveTo>
                  <a:lnTo>
                    <a:pt x="0" y="0"/>
                  </a:lnTo>
                  <a:lnTo>
                    <a:pt x="4" y="18"/>
                  </a:lnTo>
                  <a:lnTo>
                    <a:pt x="94" y="18"/>
                  </a:lnTo>
                  <a:lnTo>
                    <a:pt x="9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4" name="Freeform 150"/>
            <p:cNvSpPr>
              <a:spLocks/>
            </p:cNvSpPr>
            <p:nvPr userDrawn="1"/>
          </p:nvSpPr>
          <p:spPr bwMode="auto">
            <a:xfrm>
              <a:off x="10875201" y="3589036"/>
              <a:ext cx="1022510" cy="641987"/>
            </a:xfrm>
            <a:custGeom>
              <a:avLst/>
              <a:gdLst>
                <a:gd name="T0" fmla="*/ 445 w 467"/>
                <a:gd name="T1" fmla="*/ 0 h 294"/>
                <a:gd name="T2" fmla="*/ 22 w 467"/>
                <a:gd name="T3" fmla="*/ 0 h 294"/>
                <a:gd name="T4" fmla="*/ 0 w 467"/>
                <a:gd name="T5" fmla="*/ 22 h 294"/>
                <a:gd name="T6" fmla="*/ 0 w 467"/>
                <a:gd name="T7" fmla="*/ 272 h 294"/>
                <a:gd name="T8" fmla="*/ 22 w 467"/>
                <a:gd name="T9" fmla="*/ 294 h 294"/>
                <a:gd name="T10" fmla="*/ 445 w 467"/>
                <a:gd name="T11" fmla="*/ 294 h 294"/>
                <a:gd name="T12" fmla="*/ 467 w 467"/>
                <a:gd name="T13" fmla="*/ 272 h 294"/>
                <a:gd name="T14" fmla="*/ 467 w 467"/>
                <a:gd name="T15" fmla="*/ 22 h 294"/>
                <a:gd name="T16" fmla="*/ 445 w 467"/>
                <a:gd name="T1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294">
                  <a:moveTo>
                    <a:pt x="445" y="0"/>
                  </a:moveTo>
                  <a:cubicBezTo>
                    <a:pt x="22" y="0"/>
                    <a:pt x="22" y="0"/>
                    <a:pt x="22" y="0"/>
                  </a:cubicBezTo>
                  <a:cubicBezTo>
                    <a:pt x="10" y="0"/>
                    <a:pt x="0" y="10"/>
                    <a:pt x="0" y="22"/>
                  </a:cubicBezTo>
                  <a:cubicBezTo>
                    <a:pt x="0" y="272"/>
                    <a:pt x="0" y="272"/>
                    <a:pt x="0" y="272"/>
                  </a:cubicBezTo>
                  <a:cubicBezTo>
                    <a:pt x="0" y="284"/>
                    <a:pt x="10" y="294"/>
                    <a:pt x="22" y="294"/>
                  </a:cubicBezTo>
                  <a:cubicBezTo>
                    <a:pt x="445" y="294"/>
                    <a:pt x="445" y="294"/>
                    <a:pt x="445" y="294"/>
                  </a:cubicBezTo>
                  <a:cubicBezTo>
                    <a:pt x="458" y="294"/>
                    <a:pt x="467" y="284"/>
                    <a:pt x="467" y="272"/>
                  </a:cubicBezTo>
                  <a:cubicBezTo>
                    <a:pt x="467" y="22"/>
                    <a:pt x="467" y="22"/>
                    <a:pt x="467" y="22"/>
                  </a:cubicBezTo>
                  <a:cubicBezTo>
                    <a:pt x="467" y="10"/>
                    <a:pt x="458" y="0"/>
                    <a:pt x="445" y="0"/>
                  </a:cubicBez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5" name="Freeform 151"/>
            <p:cNvSpPr>
              <a:spLocks/>
            </p:cNvSpPr>
            <p:nvPr userDrawn="1"/>
          </p:nvSpPr>
          <p:spPr bwMode="auto">
            <a:xfrm>
              <a:off x="11809000" y="3589036"/>
              <a:ext cx="88711" cy="641987"/>
            </a:xfrm>
            <a:custGeom>
              <a:avLst/>
              <a:gdLst>
                <a:gd name="T0" fmla="*/ 22 w 41"/>
                <a:gd name="T1" fmla="*/ 272 h 294"/>
                <a:gd name="T2" fmla="*/ 22 w 41"/>
                <a:gd name="T3" fmla="*/ 22 h 294"/>
                <a:gd name="T4" fmla="*/ 0 w 41"/>
                <a:gd name="T5" fmla="*/ 0 h 294"/>
                <a:gd name="T6" fmla="*/ 19 w 41"/>
                <a:gd name="T7" fmla="*/ 0 h 294"/>
                <a:gd name="T8" fmla="*/ 41 w 41"/>
                <a:gd name="T9" fmla="*/ 22 h 294"/>
                <a:gd name="T10" fmla="*/ 41 w 41"/>
                <a:gd name="T11" fmla="*/ 272 h 294"/>
                <a:gd name="T12" fmla="*/ 19 w 41"/>
                <a:gd name="T13" fmla="*/ 294 h 294"/>
                <a:gd name="T14" fmla="*/ 0 w 41"/>
                <a:gd name="T15" fmla="*/ 294 h 294"/>
                <a:gd name="T16" fmla="*/ 22 w 41"/>
                <a:gd name="T17" fmla="*/ 272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294">
                  <a:moveTo>
                    <a:pt x="22" y="272"/>
                  </a:moveTo>
                  <a:cubicBezTo>
                    <a:pt x="22" y="22"/>
                    <a:pt x="22" y="22"/>
                    <a:pt x="22" y="22"/>
                  </a:cubicBezTo>
                  <a:cubicBezTo>
                    <a:pt x="22" y="10"/>
                    <a:pt x="12" y="0"/>
                    <a:pt x="0" y="0"/>
                  </a:cubicBezTo>
                  <a:cubicBezTo>
                    <a:pt x="19" y="0"/>
                    <a:pt x="19" y="0"/>
                    <a:pt x="19" y="0"/>
                  </a:cubicBezTo>
                  <a:cubicBezTo>
                    <a:pt x="32" y="0"/>
                    <a:pt x="41" y="10"/>
                    <a:pt x="41" y="22"/>
                  </a:cubicBezTo>
                  <a:cubicBezTo>
                    <a:pt x="41" y="272"/>
                    <a:pt x="41" y="272"/>
                    <a:pt x="41" y="272"/>
                  </a:cubicBezTo>
                  <a:cubicBezTo>
                    <a:pt x="41" y="284"/>
                    <a:pt x="32" y="294"/>
                    <a:pt x="19" y="294"/>
                  </a:cubicBezTo>
                  <a:cubicBezTo>
                    <a:pt x="0" y="294"/>
                    <a:pt x="0" y="294"/>
                    <a:pt x="0" y="294"/>
                  </a:cubicBezTo>
                  <a:cubicBezTo>
                    <a:pt x="12" y="294"/>
                    <a:pt x="22" y="284"/>
                    <a:pt x="22" y="272"/>
                  </a:cubicBez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6" name="Rectangle 152"/>
            <p:cNvSpPr>
              <a:spLocks noChangeArrowheads="1"/>
            </p:cNvSpPr>
            <p:nvPr userDrawn="1"/>
          </p:nvSpPr>
          <p:spPr bwMode="auto">
            <a:xfrm>
              <a:off x="10875201" y="4177330"/>
              <a:ext cx="1022510" cy="53694"/>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7" name="Rectangle 153"/>
            <p:cNvSpPr>
              <a:spLocks noChangeArrowheads="1"/>
            </p:cNvSpPr>
            <p:nvPr userDrawn="1"/>
          </p:nvSpPr>
          <p:spPr bwMode="auto">
            <a:xfrm>
              <a:off x="11346769" y="3871511"/>
              <a:ext cx="37352" cy="37352"/>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8" name="Rectangle 154"/>
            <p:cNvSpPr>
              <a:spLocks noChangeArrowheads="1"/>
            </p:cNvSpPr>
            <p:nvPr userDrawn="1"/>
          </p:nvSpPr>
          <p:spPr bwMode="auto">
            <a:xfrm>
              <a:off x="11388790" y="3871511"/>
              <a:ext cx="35018" cy="37352"/>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9" name="Rectangle 155"/>
            <p:cNvSpPr>
              <a:spLocks noChangeArrowheads="1"/>
            </p:cNvSpPr>
            <p:nvPr userDrawn="1"/>
          </p:nvSpPr>
          <p:spPr bwMode="auto">
            <a:xfrm>
              <a:off x="11346769" y="3913531"/>
              <a:ext cx="37352" cy="35018"/>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0" name="Rectangle 156"/>
            <p:cNvSpPr>
              <a:spLocks noChangeArrowheads="1"/>
            </p:cNvSpPr>
            <p:nvPr userDrawn="1"/>
          </p:nvSpPr>
          <p:spPr bwMode="auto">
            <a:xfrm>
              <a:off x="11388790" y="3913531"/>
              <a:ext cx="35018" cy="35018"/>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0" name="Freeform 196"/>
            <p:cNvSpPr>
              <a:spLocks/>
            </p:cNvSpPr>
            <p:nvPr userDrawn="1"/>
          </p:nvSpPr>
          <p:spPr bwMode="auto">
            <a:xfrm>
              <a:off x="11412107" y="4167993"/>
              <a:ext cx="51359" cy="70035"/>
            </a:xfrm>
            <a:custGeom>
              <a:avLst/>
              <a:gdLst>
                <a:gd name="T0" fmla="*/ 24 w 24"/>
                <a:gd name="T1" fmla="*/ 32 h 32"/>
                <a:gd name="T2" fmla="*/ 24 w 24"/>
                <a:gd name="T3" fmla="*/ 12 h 32"/>
                <a:gd name="T4" fmla="*/ 12 w 24"/>
                <a:gd name="T5" fmla="*/ 0 h 32"/>
                <a:gd name="T6" fmla="*/ 0 w 24"/>
                <a:gd name="T7" fmla="*/ 12 h 32"/>
                <a:gd name="T8" fmla="*/ 0 w 24"/>
                <a:gd name="T9" fmla="*/ 32 h 32"/>
                <a:gd name="T10" fmla="*/ 24 w 24"/>
                <a:gd name="T11" fmla="*/ 32 h 32"/>
              </a:gdLst>
              <a:ahLst/>
              <a:cxnLst>
                <a:cxn ang="0">
                  <a:pos x="T0" y="T1"/>
                </a:cxn>
                <a:cxn ang="0">
                  <a:pos x="T2" y="T3"/>
                </a:cxn>
                <a:cxn ang="0">
                  <a:pos x="T4" y="T5"/>
                </a:cxn>
                <a:cxn ang="0">
                  <a:pos x="T6" y="T7"/>
                </a:cxn>
                <a:cxn ang="0">
                  <a:pos x="T8" y="T9"/>
                </a:cxn>
                <a:cxn ang="0">
                  <a:pos x="T10" y="T11"/>
                </a:cxn>
              </a:cxnLst>
              <a:rect l="0" t="0" r="r" b="b"/>
              <a:pathLst>
                <a:path w="24" h="32">
                  <a:moveTo>
                    <a:pt x="24" y="32"/>
                  </a:moveTo>
                  <a:cubicBezTo>
                    <a:pt x="24" y="12"/>
                    <a:pt x="24" y="12"/>
                    <a:pt x="24" y="12"/>
                  </a:cubicBezTo>
                  <a:cubicBezTo>
                    <a:pt x="24" y="6"/>
                    <a:pt x="19" y="0"/>
                    <a:pt x="12" y="0"/>
                  </a:cubicBezTo>
                  <a:cubicBezTo>
                    <a:pt x="6" y="0"/>
                    <a:pt x="0" y="5"/>
                    <a:pt x="0" y="12"/>
                  </a:cubicBezTo>
                  <a:cubicBezTo>
                    <a:pt x="0" y="32"/>
                    <a:pt x="0" y="32"/>
                    <a:pt x="0" y="32"/>
                  </a:cubicBezTo>
                  <a:lnTo>
                    <a:pt x="24" y="32"/>
                  </a:ln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1" name="Freeform 197"/>
            <p:cNvSpPr>
              <a:spLocks/>
            </p:cNvSpPr>
            <p:nvPr userDrawn="1"/>
          </p:nvSpPr>
          <p:spPr bwMode="auto">
            <a:xfrm>
              <a:off x="11463466" y="4146982"/>
              <a:ext cx="53694" cy="91046"/>
            </a:xfrm>
            <a:custGeom>
              <a:avLst/>
              <a:gdLst>
                <a:gd name="T0" fmla="*/ 24 w 24"/>
                <a:gd name="T1" fmla="*/ 41 h 41"/>
                <a:gd name="T2" fmla="*/ 24 w 24"/>
                <a:gd name="T3" fmla="*/ 12 h 41"/>
                <a:gd name="T4" fmla="*/ 12 w 24"/>
                <a:gd name="T5" fmla="*/ 0 h 41"/>
                <a:gd name="T6" fmla="*/ 0 w 24"/>
                <a:gd name="T7" fmla="*/ 12 h 41"/>
                <a:gd name="T8" fmla="*/ 0 w 24"/>
                <a:gd name="T9" fmla="*/ 41 h 41"/>
                <a:gd name="T10" fmla="*/ 24 w 24"/>
                <a:gd name="T11" fmla="*/ 41 h 41"/>
              </a:gdLst>
              <a:ahLst/>
              <a:cxnLst>
                <a:cxn ang="0">
                  <a:pos x="T0" y="T1"/>
                </a:cxn>
                <a:cxn ang="0">
                  <a:pos x="T2" y="T3"/>
                </a:cxn>
                <a:cxn ang="0">
                  <a:pos x="T4" y="T5"/>
                </a:cxn>
                <a:cxn ang="0">
                  <a:pos x="T6" y="T7"/>
                </a:cxn>
                <a:cxn ang="0">
                  <a:pos x="T8" y="T9"/>
                </a:cxn>
                <a:cxn ang="0">
                  <a:pos x="T10" y="T11"/>
                </a:cxn>
              </a:cxnLst>
              <a:rect l="0" t="0" r="r" b="b"/>
              <a:pathLst>
                <a:path w="24" h="41">
                  <a:moveTo>
                    <a:pt x="24" y="41"/>
                  </a:moveTo>
                  <a:cubicBezTo>
                    <a:pt x="24" y="12"/>
                    <a:pt x="24" y="12"/>
                    <a:pt x="24" y="12"/>
                  </a:cubicBezTo>
                  <a:cubicBezTo>
                    <a:pt x="24" y="6"/>
                    <a:pt x="19" y="0"/>
                    <a:pt x="12" y="0"/>
                  </a:cubicBezTo>
                  <a:cubicBezTo>
                    <a:pt x="6" y="0"/>
                    <a:pt x="0" y="5"/>
                    <a:pt x="0" y="12"/>
                  </a:cubicBezTo>
                  <a:cubicBezTo>
                    <a:pt x="0" y="41"/>
                    <a:pt x="0" y="41"/>
                    <a:pt x="0" y="41"/>
                  </a:cubicBezTo>
                  <a:lnTo>
                    <a:pt x="24" y="41"/>
                  </a:ln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2" name="Freeform 198"/>
            <p:cNvSpPr>
              <a:spLocks/>
            </p:cNvSpPr>
            <p:nvPr userDrawn="1"/>
          </p:nvSpPr>
          <p:spPr bwMode="auto">
            <a:xfrm>
              <a:off x="11568519" y="4146982"/>
              <a:ext cx="53694" cy="91046"/>
            </a:xfrm>
            <a:custGeom>
              <a:avLst/>
              <a:gdLst>
                <a:gd name="T0" fmla="*/ 24 w 24"/>
                <a:gd name="T1" fmla="*/ 41 h 41"/>
                <a:gd name="T2" fmla="*/ 24 w 24"/>
                <a:gd name="T3" fmla="*/ 13 h 41"/>
                <a:gd name="T4" fmla="*/ 12 w 24"/>
                <a:gd name="T5" fmla="*/ 1 h 41"/>
                <a:gd name="T6" fmla="*/ 0 w 24"/>
                <a:gd name="T7" fmla="*/ 12 h 41"/>
                <a:gd name="T8" fmla="*/ 0 w 24"/>
                <a:gd name="T9" fmla="*/ 41 h 41"/>
                <a:gd name="T10" fmla="*/ 24 w 24"/>
                <a:gd name="T11" fmla="*/ 41 h 41"/>
              </a:gdLst>
              <a:ahLst/>
              <a:cxnLst>
                <a:cxn ang="0">
                  <a:pos x="T0" y="T1"/>
                </a:cxn>
                <a:cxn ang="0">
                  <a:pos x="T2" y="T3"/>
                </a:cxn>
                <a:cxn ang="0">
                  <a:pos x="T4" y="T5"/>
                </a:cxn>
                <a:cxn ang="0">
                  <a:pos x="T6" y="T7"/>
                </a:cxn>
                <a:cxn ang="0">
                  <a:pos x="T8" y="T9"/>
                </a:cxn>
                <a:cxn ang="0">
                  <a:pos x="T10" y="T11"/>
                </a:cxn>
              </a:cxnLst>
              <a:rect l="0" t="0" r="r" b="b"/>
              <a:pathLst>
                <a:path w="24" h="41">
                  <a:moveTo>
                    <a:pt x="24" y="41"/>
                  </a:moveTo>
                  <a:cubicBezTo>
                    <a:pt x="24" y="13"/>
                    <a:pt x="24" y="13"/>
                    <a:pt x="24" y="13"/>
                  </a:cubicBezTo>
                  <a:cubicBezTo>
                    <a:pt x="24" y="6"/>
                    <a:pt x="19" y="1"/>
                    <a:pt x="12" y="1"/>
                  </a:cubicBezTo>
                  <a:cubicBezTo>
                    <a:pt x="6" y="0"/>
                    <a:pt x="0" y="6"/>
                    <a:pt x="0" y="12"/>
                  </a:cubicBezTo>
                  <a:cubicBezTo>
                    <a:pt x="0" y="41"/>
                    <a:pt x="0" y="41"/>
                    <a:pt x="0" y="41"/>
                  </a:cubicBezTo>
                  <a:lnTo>
                    <a:pt x="24" y="41"/>
                  </a:ln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3" name="Freeform 199"/>
            <p:cNvSpPr>
              <a:spLocks/>
            </p:cNvSpPr>
            <p:nvPr userDrawn="1"/>
          </p:nvSpPr>
          <p:spPr bwMode="auto">
            <a:xfrm>
              <a:off x="11517160" y="4132968"/>
              <a:ext cx="51359" cy="105053"/>
            </a:xfrm>
            <a:custGeom>
              <a:avLst/>
              <a:gdLst>
                <a:gd name="T0" fmla="*/ 24 w 24"/>
                <a:gd name="T1" fmla="*/ 48 h 48"/>
                <a:gd name="T2" fmla="*/ 24 w 24"/>
                <a:gd name="T3" fmla="*/ 13 h 48"/>
                <a:gd name="T4" fmla="*/ 12 w 24"/>
                <a:gd name="T5" fmla="*/ 1 h 48"/>
                <a:gd name="T6" fmla="*/ 0 w 24"/>
                <a:gd name="T7" fmla="*/ 12 h 48"/>
                <a:gd name="T8" fmla="*/ 0 w 24"/>
                <a:gd name="T9" fmla="*/ 48 h 48"/>
                <a:gd name="T10" fmla="*/ 24 w 24"/>
                <a:gd name="T11" fmla="*/ 48 h 48"/>
              </a:gdLst>
              <a:ahLst/>
              <a:cxnLst>
                <a:cxn ang="0">
                  <a:pos x="T0" y="T1"/>
                </a:cxn>
                <a:cxn ang="0">
                  <a:pos x="T2" y="T3"/>
                </a:cxn>
                <a:cxn ang="0">
                  <a:pos x="T4" y="T5"/>
                </a:cxn>
                <a:cxn ang="0">
                  <a:pos x="T6" y="T7"/>
                </a:cxn>
                <a:cxn ang="0">
                  <a:pos x="T8" y="T9"/>
                </a:cxn>
                <a:cxn ang="0">
                  <a:pos x="T10" y="T11"/>
                </a:cxn>
              </a:cxnLst>
              <a:rect l="0" t="0" r="r" b="b"/>
              <a:pathLst>
                <a:path w="24" h="48">
                  <a:moveTo>
                    <a:pt x="24" y="48"/>
                  </a:moveTo>
                  <a:cubicBezTo>
                    <a:pt x="24" y="13"/>
                    <a:pt x="24" y="13"/>
                    <a:pt x="24" y="13"/>
                  </a:cubicBezTo>
                  <a:cubicBezTo>
                    <a:pt x="24" y="6"/>
                    <a:pt x="19" y="1"/>
                    <a:pt x="12" y="1"/>
                  </a:cubicBezTo>
                  <a:cubicBezTo>
                    <a:pt x="6" y="0"/>
                    <a:pt x="0" y="6"/>
                    <a:pt x="0" y="12"/>
                  </a:cubicBezTo>
                  <a:cubicBezTo>
                    <a:pt x="0" y="48"/>
                    <a:pt x="0" y="48"/>
                    <a:pt x="0" y="48"/>
                  </a:cubicBezTo>
                  <a:lnTo>
                    <a:pt x="24" y="48"/>
                  </a:ln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4" name="Freeform 200"/>
            <p:cNvSpPr>
              <a:spLocks/>
            </p:cNvSpPr>
            <p:nvPr userDrawn="1"/>
          </p:nvSpPr>
          <p:spPr bwMode="auto">
            <a:xfrm>
              <a:off x="11412108" y="4228671"/>
              <a:ext cx="259130" cy="95715"/>
            </a:xfrm>
            <a:custGeom>
              <a:avLst/>
              <a:gdLst>
                <a:gd name="T0" fmla="*/ 0 w 119"/>
                <a:gd name="T1" fmla="*/ 0 h 44"/>
                <a:gd name="T2" fmla="*/ 17 w 119"/>
                <a:gd name="T3" fmla="*/ 32 h 44"/>
                <a:gd name="T4" fmla="*/ 71 w 119"/>
                <a:gd name="T5" fmla="*/ 33 h 44"/>
                <a:gd name="T6" fmla="*/ 119 w 119"/>
                <a:gd name="T7" fmla="*/ 0 h 44"/>
                <a:gd name="T8" fmla="*/ 0 w 119"/>
                <a:gd name="T9" fmla="*/ 0 h 44"/>
              </a:gdLst>
              <a:ahLst/>
              <a:cxnLst>
                <a:cxn ang="0">
                  <a:pos x="T0" y="T1"/>
                </a:cxn>
                <a:cxn ang="0">
                  <a:pos x="T2" y="T3"/>
                </a:cxn>
                <a:cxn ang="0">
                  <a:pos x="T4" y="T5"/>
                </a:cxn>
                <a:cxn ang="0">
                  <a:pos x="T6" y="T7"/>
                </a:cxn>
                <a:cxn ang="0">
                  <a:pos x="T8" y="T9"/>
                </a:cxn>
              </a:cxnLst>
              <a:rect l="0" t="0" r="r" b="b"/>
              <a:pathLst>
                <a:path w="119" h="44">
                  <a:moveTo>
                    <a:pt x="0" y="0"/>
                  </a:moveTo>
                  <a:cubicBezTo>
                    <a:pt x="1" y="14"/>
                    <a:pt x="7" y="25"/>
                    <a:pt x="17" y="32"/>
                  </a:cubicBezTo>
                  <a:cubicBezTo>
                    <a:pt x="33" y="44"/>
                    <a:pt x="54" y="43"/>
                    <a:pt x="71" y="33"/>
                  </a:cubicBezTo>
                  <a:cubicBezTo>
                    <a:pt x="119" y="0"/>
                    <a:pt x="119" y="0"/>
                    <a:pt x="119" y="0"/>
                  </a:cubicBezTo>
                  <a:lnTo>
                    <a:pt x="0" y="0"/>
                  </a:ln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09" name="Group 208"/>
          <p:cNvGrpSpPr/>
          <p:nvPr userDrawn="1"/>
        </p:nvGrpSpPr>
        <p:grpSpPr>
          <a:xfrm>
            <a:off x="7814274" y="2818570"/>
            <a:ext cx="2062037" cy="1302404"/>
            <a:chOff x="7970966" y="2874680"/>
            <a:chExt cx="2103385" cy="1328331"/>
          </a:xfrm>
        </p:grpSpPr>
        <p:sp>
          <p:nvSpPr>
            <p:cNvPr id="26" name="Freeform 22"/>
            <p:cNvSpPr>
              <a:spLocks/>
            </p:cNvSpPr>
            <p:nvPr userDrawn="1"/>
          </p:nvSpPr>
          <p:spPr bwMode="auto">
            <a:xfrm rot="16200000">
              <a:off x="8367831" y="2496491"/>
              <a:ext cx="1309655" cy="2084709"/>
            </a:xfrm>
            <a:custGeom>
              <a:avLst/>
              <a:gdLst>
                <a:gd name="T0" fmla="*/ 574 w 598"/>
                <a:gd name="T1" fmla="*/ 957 h 957"/>
                <a:gd name="T2" fmla="*/ 24 w 598"/>
                <a:gd name="T3" fmla="*/ 957 h 957"/>
                <a:gd name="T4" fmla="*/ 0 w 598"/>
                <a:gd name="T5" fmla="*/ 933 h 957"/>
                <a:gd name="T6" fmla="*/ 0 w 598"/>
                <a:gd name="T7" fmla="*/ 24 h 957"/>
                <a:gd name="T8" fmla="*/ 24 w 598"/>
                <a:gd name="T9" fmla="*/ 0 h 957"/>
                <a:gd name="T10" fmla="*/ 574 w 598"/>
                <a:gd name="T11" fmla="*/ 0 h 957"/>
                <a:gd name="T12" fmla="*/ 598 w 598"/>
                <a:gd name="T13" fmla="*/ 24 h 957"/>
                <a:gd name="T14" fmla="*/ 598 w 598"/>
                <a:gd name="T15" fmla="*/ 933 h 957"/>
                <a:gd name="T16" fmla="*/ 574 w 598"/>
                <a:gd name="T17" fmla="*/ 957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8" h="957">
                  <a:moveTo>
                    <a:pt x="574" y="957"/>
                  </a:moveTo>
                  <a:cubicBezTo>
                    <a:pt x="24" y="957"/>
                    <a:pt x="24" y="957"/>
                    <a:pt x="24" y="957"/>
                  </a:cubicBezTo>
                  <a:cubicBezTo>
                    <a:pt x="11" y="957"/>
                    <a:pt x="0" y="946"/>
                    <a:pt x="0" y="933"/>
                  </a:cubicBezTo>
                  <a:cubicBezTo>
                    <a:pt x="0" y="24"/>
                    <a:pt x="0" y="24"/>
                    <a:pt x="0" y="24"/>
                  </a:cubicBezTo>
                  <a:cubicBezTo>
                    <a:pt x="0" y="11"/>
                    <a:pt x="11" y="0"/>
                    <a:pt x="24" y="0"/>
                  </a:cubicBezTo>
                  <a:cubicBezTo>
                    <a:pt x="574" y="0"/>
                    <a:pt x="574" y="0"/>
                    <a:pt x="574" y="0"/>
                  </a:cubicBezTo>
                  <a:cubicBezTo>
                    <a:pt x="587" y="0"/>
                    <a:pt x="598" y="11"/>
                    <a:pt x="598" y="24"/>
                  </a:cubicBezTo>
                  <a:cubicBezTo>
                    <a:pt x="598" y="933"/>
                    <a:pt x="598" y="933"/>
                    <a:pt x="598" y="933"/>
                  </a:cubicBezTo>
                  <a:cubicBezTo>
                    <a:pt x="598" y="946"/>
                    <a:pt x="587" y="957"/>
                    <a:pt x="574" y="957"/>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23"/>
            <p:cNvSpPr>
              <a:spLocks/>
            </p:cNvSpPr>
            <p:nvPr userDrawn="1"/>
          </p:nvSpPr>
          <p:spPr bwMode="auto">
            <a:xfrm rot="16200000">
              <a:off x="8358493" y="2487153"/>
              <a:ext cx="1328331" cy="2103385"/>
            </a:xfrm>
            <a:custGeom>
              <a:avLst/>
              <a:gdLst>
                <a:gd name="T0" fmla="*/ 578 w 606"/>
                <a:gd name="T1" fmla="*/ 961 h 965"/>
                <a:gd name="T2" fmla="*/ 578 w 606"/>
                <a:gd name="T3" fmla="*/ 957 h 965"/>
                <a:gd name="T4" fmla="*/ 28 w 606"/>
                <a:gd name="T5" fmla="*/ 957 h 965"/>
                <a:gd name="T6" fmla="*/ 14 w 606"/>
                <a:gd name="T7" fmla="*/ 951 h 965"/>
                <a:gd name="T8" fmla="*/ 8 w 606"/>
                <a:gd name="T9" fmla="*/ 937 h 965"/>
                <a:gd name="T10" fmla="*/ 8 w 606"/>
                <a:gd name="T11" fmla="*/ 28 h 965"/>
                <a:gd name="T12" fmla="*/ 14 w 606"/>
                <a:gd name="T13" fmla="*/ 14 h 965"/>
                <a:gd name="T14" fmla="*/ 28 w 606"/>
                <a:gd name="T15" fmla="*/ 8 h 965"/>
                <a:gd name="T16" fmla="*/ 578 w 606"/>
                <a:gd name="T17" fmla="*/ 8 h 965"/>
                <a:gd name="T18" fmla="*/ 592 w 606"/>
                <a:gd name="T19" fmla="*/ 14 h 965"/>
                <a:gd name="T20" fmla="*/ 598 w 606"/>
                <a:gd name="T21" fmla="*/ 28 h 965"/>
                <a:gd name="T22" fmla="*/ 598 w 606"/>
                <a:gd name="T23" fmla="*/ 937 h 965"/>
                <a:gd name="T24" fmla="*/ 592 w 606"/>
                <a:gd name="T25" fmla="*/ 951 h 965"/>
                <a:gd name="T26" fmla="*/ 578 w 606"/>
                <a:gd name="T27" fmla="*/ 957 h 965"/>
                <a:gd name="T28" fmla="*/ 578 w 606"/>
                <a:gd name="T29" fmla="*/ 961 h 965"/>
                <a:gd name="T30" fmla="*/ 578 w 606"/>
                <a:gd name="T31" fmla="*/ 965 h 965"/>
                <a:gd name="T32" fmla="*/ 606 w 606"/>
                <a:gd name="T33" fmla="*/ 937 h 965"/>
                <a:gd name="T34" fmla="*/ 606 w 606"/>
                <a:gd name="T35" fmla="*/ 28 h 965"/>
                <a:gd name="T36" fmla="*/ 578 w 606"/>
                <a:gd name="T37" fmla="*/ 0 h 965"/>
                <a:gd name="T38" fmla="*/ 28 w 606"/>
                <a:gd name="T39" fmla="*/ 0 h 965"/>
                <a:gd name="T40" fmla="*/ 0 w 606"/>
                <a:gd name="T41" fmla="*/ 28 h 965"/>
                <a:gd name="T42" fmla="*/ 0 w 606"/>
                <a:gd name="T43" fmla="*/ 937 h 965"/>
                <a:gd name="T44" fmla="*/ 28 w 606"/>
                <a:gd name="T45" fmla="*/ 965 h 965"/>
                <a:gd name="T46" fmla="*/ 578 w 606"/>
                <a:gd name="T47" fmla="*/ 965 h 965"/>
                <a:gd name="T48" fmla="*/ 578 w 606"/>
                <a:gd name="T49" fmla="*/ 961 h 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6" h="965">
                  <a:moveTo>
                    <a:pt x="578" y="961"/>
                  </a:moveTo>
                  <a:cubicBezTo>
                    <a:pt x="578" y="957"/>
                    <a:pt x="578" y="957"/>
                    <a:pt x="578" y="957"/>
                  </a:cubicBezTo>
                  <a:cubicBezTo>
                    <a:pt x="28" y="957"/>
                    <a:pt x="28" y="957"/>
                    <a:pt x="28" y="957"/>
                  </a:cubicBezTo>
                  <a:cubicBezTo>
                    <a:pt x="22" y="957"/>
                    <a:pt x="17" y="955"/>
                    <a:pt x="14" y="951"/>
                  </a:cubicBezTo>
                  <a:cubicBezTo>
                    <a:pt x="10" y="948"/>
                    <a:pt x="8" y="943"/>
                    <a:pt x="8" y="937"/>
                  </a:cubicBezTo>
                  <a:cubicBezTo>
                    <a:pt x="8" y="28"/>
                    <a:pt x="8" y="28"/>
                    <a:pt x="8" y="28"/>
                  </a:cubicBezTo>
                  <a:cubicBezTo>
                    <a:pt x="8" y="23"/>
                    <a:pt x="10" y="18"/>
                    <a:pt x="14" y="14"/>
                  </a:cubicBezTo>
                  <a:cubicBezTo>
                    <a:pt x="17" y="11"/>
                    <a:pt x="22" y="8"/>
                    <a:pt x="28" y="8"/>
                  </a:cubicBezTo>
                  <a:cubicBezTo>
                    <a:pt x="578" y="8"/>
                    <a:pt x="578" y="8"/>
                    <a:pt x="578" y="8"/>
                  </a:cubicBezTo>
                  <a:cubicBezTo>
                    <a:pt x="583" y="8"/>
                    <a:pt x="588" y="11"/>
                    <a:pt x="592" y="14"/>
                  </a:cubicBezTo>
                  <a:cubicBezTo>
                    <a:pt x="596" y="18"/>
                    <a:pt x="598" y="23"/>
                    <a:pt x="598" y="28"/>
                  </a:cubicBezTo>
                  <a:cubicBezTo>
                    <a:pt x="598" y="937"/>
                    <a:pt x="598" y="937"/>
                    <a:pt x="598" y="937"/>
                  </a:cubicBezTo>
                  <a:cubicBezTo>
                    <a:pt x="598" y="943"/>
                    <a:pt x="596" y="948"/>
                    <a:pt x="592" y="951"/>
                  </a:cubicBezTo>
                  <a:cubicBezTo>
                    <a:pt x="588" y="955"/>
                    <a:pt x="583" y="957"/>
                    <a:pt x="578" y="957"/>
                  </a:cubicBezTo>
                  <a:cubicBezTo>
                    <a:pt x="578" y="961"/>
                    <a:pt x="578" y="961"/>
                    <a:pt x="578" y="961"/>
                  </a:cubicBezTo>
                  <a:cubicBezTo>
                    <a:pt x="578" y="965"/>
                    <a:pt x="578" y="965"/>
                    <a:pt x="578" y="965"/>
                  </a:cubicBezTo>
                  <a:cubicBezTo>
                    <a:pt x="593" y="965"/>
                    <a:pt x="606" y="953"/>
                    <a:pt x="606" y="937"/>
                  </a:cubicBezTo>
                  <a:cubicBezTo>
                    <a:pt x="606" y="28"/>
                    <a:pt x="606" y="28"/>
                    <a:pt x="606" y="28"/>
                  </a:cubicBezTo>
                  <a:cubicBezTo>
                    <a:pt x="606" y="13"/>
                    <a:pt x="593" y="0"/>
                    <a:pt x="578" y="0"/>
                  </a:cubicBezTo>
                  <a:cubicBezTo>
                    <a:pt x="28" y="0"/>
                    <a:pt x="28" y="0"/>
                    <a:pt x="28" y="0"/>
                  </a:cubicBezTo>
                  <a:cubicBezTo>
                    <a:pt x="12" y="0"/>
                    <a:pt x="0" y="13"/>
                    <a:pt x="0" y="28"/>
                  </a:cubicBezTo>
                  <a:cubicBezTo>
                    <a:pt x="0" y="937"/>
                    <a:pt x="0" y="937"/>
                    <a:pt x="0" y="937"/>
                  </a:cubicBezTo>
                  <a:cubicBezTo>
                    <a:pt x="0" y="953"/>
                    <a:pt x="12" y="965"/>
                    <a:pt x="28" y="965"/>
                  </a:cubicBezTo>
                  <a:cubicBezTo>
                    <a:pt x="578" y="965"/>
                    <a:pt x="578" y="965"/>
                    <a:pt x="578" y="965"/>
                  </a:cubicBezTo>
                  <a:cubicBezTo>
                    <a:pt x="578" y="961"/>
                    <a:pt x="578" y="961"/>
                    <a:pt x="578" y="961"/>
                  </a:cubicBezTo>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24"/>
            <p:cNvSpPr>
              <a:spLocks/>
            </p:cNvSpPr>
            <p:nvPr userDrawn="1"/>
          </p:nvSpPr>
          <p:spPr bwMode="auto">
            <a:xfrm rot="16200000">
              <a:off x="8377169" y="2503496"/>
              <a:ext cx="1293312" cy="2068365"/>
            </a:xfrm>
            <a:custGeom>
              <a:avLst/>
              <a:gdLst>
                <a:gd name="T0" fmla="*/ 570 w 590"/>
                <a:gd name="T1" fmla="*/ 0 h 949"/>
                <a:gd name="T2" fmla="*/ 20 w 590"/>
                <a:gd name="T3" fmla="*/ 0 h 949"/>
                <a:gd name="T4" fmla="*/ 6 w 590"/>
                <a:gd name="T5" fmla="*/ 6 h 949"/>
                <a:gd name="T6" fmla="*/ 0 w 590"/>
                <a:gd name="T7" fmla="*/ 20 h 949"/>
                <a:gd name="T8" fmla="*/ 0 w 590"/>
                <a:gd name="T9" fmla="*/ 929 h 949"/>
                <a:gd name="T10" fmla="*/ 6 w 590"/>
                <a:gd name="T11" fmla="*/ 943 h 949"/>
                <a:gd name="T12" fmla="*/ 20 w 590"/>
                <a:gd name="T13" fmla="*/ 949 h 949"/>
                <a:gd name="T14" fmla="*/ 570 w 590"/>
                <a:gd name="T15" fmla="*/ 949 h 949"/>
                <a:gd name="T16" fmla="*/ 584 w 590"/>
                <a:gd name="T17" fmla="*/ 943 h 949"/>
                <a:gd name="T18" fmla="*/ 590 w 590"/>
                <a:gd name="T19" fmla="*/ 929 h 949"/>
                <a:gd name="T20" fmla="*/ 590 w 590"/>
                <a:gd name="T21" fmla="*/ 20 h 949"/>
                <a:gd name="T22" fmla="*/ 584 w 590"/>
                <a:gd name="T23" fmla="*/ 6 h 949"/>
                <a:gd name="T24" fmla="*/ 570 w 590"/>
                <a:gd name="T25" fmla="*/ 0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0" h="949">
                  <a:moveTo>
                    <a:pt x="570" y="0"/>
                  </a:moveTo>
                  <a:cubicBezTo>
                    <a:pt x="20" y="0"/>
                    <a:pt x="20" y="0"/>
                    <a:pt x="20" y="0"/>
                  </a:cubicBezTo>
                  <a:cubicBezTo>
                    <a:pt x="14" y="0"/>
                    <a:pt x="9" y="3"/>
                    <a:pt x="6" y="6"/>
                  </a:cubicBezTo>
                  <a:cubicBezTo>
                    <a:pt x="2" y="10"/>
                    <a:pt x="0" y="15"/>
                    <a:pt x="0" y="20"/>
                  </a:cubicBezTo>
                  <a:cubicBezTo>
                    <a:pt x="0" y="929"/>
                    <a:pt x="0" y="929"/>
                    <a:pt x="0" y="929"/>
                  </a:cubicBezTo>
                  <a:cubicBezTo>
                    <a:pt x="0" y="935"/>
                    <a:pt x="2" y="940"/>
                    <a:pt x="6" y="943"/>
                  </a:cubicBezTo>
                  <a:cubicBezTo>
                    <a:pt x="9" y="947"/>
                    <a:pt x="14" y="949"/>
                    <a:pt x="20" y="949"/>
                  </a:cubicBezTo>
                  <a:cubicBezTo>
                    <a:pt x="570" y="949"/>
                    <a:pt x="570" y="949"/>
                    <a:pt x="570" y="949"/>
                  </a:cubicBezTo>
                  <a:cubicBezTo>
                    <a:pt x="575" y="949"/>
                    <a:pt x="580" y="947"/>
                    <a:pt x="584" y="943"/>
                  </a:cubicBezTo>
                  <a:cubicBezTo>
                    <a:pt x="588" y="940"/>
                    <a:pt x="590" y="935"/>
                    <a:pt x="590" y="929"/>
                  </a:cubicBezTo>
                  <a:cubicBezTo>
                    <a:pt x="590" y="20"/>
                    <a:pt x="590" y="20"/>
                    <a:pt x="590" y="20"/>
                  </a:cubicBezTo>
                  <a:cubicBezTo>
                    <a:pt x="590" y="15"/>
                    <a:pt x="588" y="10"/>
                    <a:pt x="584" y="6"/>
                  </a:cubicBezTo>
                  <a:cubicBezTo>
                    <a:pt x="580" y="3"/>
                    <a:pt x="575" y="0"/>
                    <a:pt x="570" y="0"/>
                  </a:cubicBezTo>
                </a:path>
              </a:pathLst>
            </a:custGeom>
            <a:solidFill>
              <a:srgbClr val="0034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25"/>
            <p:cNvSpPr>
              <a:spLocks noEditPoints="1"/>
            </p:cNvSpPr>
            <p:nvPr userDrawn="1"/>
          </p:nvSpPr>
          <p:spPr bwMode="auto">
            <a:xfrm rot="16200000">
              <a:off x="8367831" y="2496491"/>
              <a:ext cx="1309655" cy="2084709"/>
            </a:xfrm>
            <a:custGeom>
              <a:avLst/>
              <a:gdLst>
                <a:gd name="T0" fmla="*/ 24 w 598"/>
                <a:gd name="T1" fmla="*/ 953 h 957"/>
                <a:gd name="T2" fmla="*/ 10 w 598"/>
                <a:gd name="T3" fmla="*/ 947 h 957"/>
                <a:gd name="T4" fmla="*/ 4 w 598"/>
                <a:gd name="T5" fmla="*/ 933 h 957"/>
                <a:gd name="T6" fmla="*/ 4 w 598"/>
                <a:gd name="T7" fmla="*/ 24 h 957"/>
                <a:gd name="T8" fmla="*/ 10 w 598"/>
                <a:gd name="T9" fmla="*/ 10 h 957"/>
                <a:gd name="T10" fmla="*/ 24 w 598"/>
                <a:gd name="T11" fmla="*/ 4 h 957"/>
                <a:gd name="T12" fmla="*/ 574 w 598"/>
                <a:gd name="T13" fmla="*/ 4 h 957"/>
                <a:gd name="T14" fmla="*/ 588 w 598"/>
                <a:gd name="T15" fmla="*/ 10 h 957"/>
                <a:gd name="T16" fmla="*/ 594 w 598"/>
                <a:gd name="T17" fmla="*/ 24 h 957"/>
                <a:gd name="T18" fmla="*/ 594 w 598"/>
                <a:gd name="T19" fmla="*/ 933 h 957"/>
                <a:gd name="T20" fmla="*/ 588 w 598"/>
                <a:gd name="T21" fmla="*/ 947 h 957"/>
                <a:gd name="T22" fmla="*/ 574 w 598"/>
                <a:gd name="T23" fmla="*/ 953 h 957"/>
                <a:gd name="T24" fmla="*/ 574 w 598"/>
                <a:gd name="T25" fmla="*/ 953 h 957"/>
                <a:gd name="T26" fmla="*/ 24 w 598"/>
                <a:gd name="T27" fmla="*/ 953 h 957"/>
                <a:gd name="T28" fmla="*/ 574 w 598"/>
                <a:gd name="T29" fmla="*/ 0 h 957"/>
                <a:gd name="T30" fmla="*/ 24 w 598"/>
                <a:gd name="T31" fmla="*/ 0 h 957"/>
                <a:gd name="T32" fmla="*/ 0 w 598"/>
                <a:gd name="T33" fmla="*/ 24 h 957"/>
                <a:gd name="T34" fmla="*/ 0 w 598"/>
                <a:gd name="T35" fmla="*/ 933 h 957"/>
                <a:gd name="T36" fmla="*/ 24 w 598"/>
                <a:gd name="T37" fmla="*/ 957 h 957"/>
                <a:gd name="T38" fmla="*/ 574 w 598"/>
                <a:gd name="T39" fmla="*/ 957 h 957"/>
                <a:gd name="T40" fmla="*/ 598 w 598"/>
                <a:gd name="T41" fmla="*/ 933 h 957"/>
                <a:gd name="T42" fmla="*/ 598 w 598"/>
                <a:gd name="T43" fmla="*/ 24 h 957"/>
                <a:gd name="T44" fmla="*/ 574 w 598"/>
                <a:gd name="T45" fmla="*/ 0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8" h="957">
                  <a:moveTo>
                    <a:pt x="24" y="953"/>
                  </a:moveTo>
                  <a:cubicBezTo>
                    <a:pt x="18" y="953"/>
                    <a:pt x="13" y="951"/>
                    <a:pt x="10" y="947"/>
                  </a:cubicBezTo>
                  <a:cubicBezTo>
                    <a:pt x="6" y="944"/>
                    <a:pt x="4" y="939"/>
                    <a:pt x="4" y="933"/>
                  </a:cubicBezTo>
                  <a:cubicBezTo>
                    <a:pt x="4" y="24"/>
                    <a:pt x="4" y="24"/>
                    <a:pt x="4" y="24"/>
                  </a:cubicBezTo>
                  <a:cubicBezTo>
                    <a:pt x="4" y="19"/>
                    <a:pt x="6" y="14"/>
                    <a:pt x="10" y="10"/>
                  </a:cubicBezTo>
                  <a:cubicBezTo>
                    <a:pt x="13" y="7"/>
                    <a:pt x="18" y="4"/>
                    <a:pt x="24" y="4"/>
                  </a:cubicBezTo>
                  <a:cubicBezTo>
                    <a:pt x="574" y="4"/>
                    <a:pt x="574" y="4"/>
                    <a:pt x="574" y="4"/>
                  </a:cubicBezTo>
                  <a:cubicBezTo>
                    <a:pt x="579" y="4"/>
                    <a:pt x="584" y="7"/>
                    <a:pt x="588" y="10"/>
                  </a:cubicBezTo>
                  <a:cubicBezTo>
                    <a:pt x="592" y="14"/>
                    <a:pt x="594" y="19"/>
                    <a:pt x="594" y="24"/>
                  </a:cubicBezTo>
                  <a:cubicBezTo>
                    <a:pt x="594" y="933"/>
                    <a:pt x="594" y="933"/>
                    <a:pt x="594" y="933"/>
                  </a:cubicBezTo>
                  <a:cubicBezTo>
                    <a:pt x="594" y="939"/>
                    <a:pt x="592" y="944"/>
                    <a:pt x="588" y="947"/>
                  </a:cubicBezTo>
                  <a:cubicBezTo>
                    <a:pt x="584" y="951"/>
                    <a:pt x="579" y="953"/>
                    <a:pt x="574" y="953"/>
                  </a:cubicBezTo>
                  <a:cubicBezTo>
                    <a:pt x="574" y="953"/>
                    <a:pt x="574" y="953"/>
                    <a:pt x="574" y="953"/>
                  </a:cubicBezTo>
                  <a:cubicBezTo>
                    <a:pt x="24" y="953"/>
                    <a:pt x="24" y="953"/>
                    <a:pt x="24" y="953"/>
                  </a:cubicBezTo>
                  <a:moveTo>
                    <a:pt x="574" y="0"/>
                  </a:moveTo>
                  <a:cubicBezTo>
                    <a:pt x="24" y="0"/>
                    <a:pt x="24" y="0"/>
                    <a:pt x="24" y="0"/>
                  </a:cubicBezTo>
                  <a:cubicBezTo>
                    <a:pt x="11" y="0"/>
                    <a:pt x="0" y="11"/>
                    <a:pt x="0" y="24"/>
                  </a:cubicBezTo>
                  <a:cubicBezTo>
                    <a:pt x="0" y="933"/>
                    <a:pt x="0" y="933"/>
                    <a:pt x="0" y="933"/>
                  </a:cubicBezTo>
                  <a:cubicBezTo>
                    <a:pt x="0" y="946"/>
                    <a:pt x="11" y="957"/>
                    <a:pt x="24" y="957"/>
                  </a:cubicBezTo>
                  <a:cubicBezTo>
                    <a:pt x="574" y="957"/>
                    <a:pt x="574" y="957"/>
                    <a:pt x="574" y="957"/>
                  </a:cubicBezTo>
                  <a:cubicBezTo>
                    <a:pt x="587" y="957"/>
                    <a:pt x="598" y="946"/>
                    <a:pt x="598" y="933"/>
                  </a:cubicBezTo>
                  <a:cubicBezTo>
                    <a:pt x="598" y="24"/>
                    <a:pt x="598" y="24"/>
                    <a:pt x="598" y="24"/>
                  </a:cubicBezTo>
                  <a:cubicBezTo>
                    <a:pt x="598" y="11"/>
                    <a:pt x="587" y="0"/>
                    <a:pt x="574" y="0"/>
                  </a:cubicBezTo>
                </a:path>
              </a:pathLst>
            </a:custGeom>
            <a:solidFill>
              <a:srgbClr val="6E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Rectangle 26"/>
            <p:cNvSpPr>
              <a:spLocks noChangeArrowheads="1"/>
            </p:cNvSpPr>
            <p:nvPr userDrawn="1"/>
          </p:nvSpPr>
          <p:spPr bwMode="auto">
            <a:xfrm>
              <a:off x="8090115" y="2978566"/>
              <a:ext cx="1839613" cy="11182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nvGrpSpPr>
            <p:cNvPr id="206" name="Group 205"/>
            <p:cNvGrpSpPr/>
            <p:nvPr userDrawn="1"/>
          </p:nvGrpSpPr>
          <p:grpSpPr>
            <a:xfrm>
              <a:off x="8188049" y="3188843"/>
              <a:ext cx="1628416" cy="775653"/>
              <a:chOff x="8517445" y="3188843"/>
              <a:chExt cx="562591" cy="775653"/>
            </a:xfrm>
          </p:grpSpPr>
          <p:sp>
            <p:nvSpPr>
              <p:cNvPr id="41" name="Rectangle 37"/>
              <p:cNvSpPr>
                <a:spLocks noChangeArrowheads="1"/>
              </p:cNvSpPr>
              <p:nvPr userDrawn="1"/>
            </p:nvSpPr>
            <p:spPr bwMode="auto">
              <a:xfrm>
                <a:off x="8736076" y="3609395"/>
                <a:ext cx="334212" cy="16711"/>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Rectangle 38"/>
              <p:cNvSpPr>
                <a:spLocks noChangeArrowheads="1"/>
              </p:cNvSpPr>
              <p:nvPr userDrawn="1"/>
            </p:nvSpPr>
            <p:spPr bwMode="auto">
              <a:xfrm>
                <a:off x="8517445" y="3679022"/>
                <a:ext cx="552845" cy="15318"/>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Rectangle 39"/>
              <p:cNvSpPr>
                <a:spLocks noChangeArrowheads="1"/>
              </p:cNvSpPr>
              <p:nvPr userDrawn="1"/>
            </p:nvSpPr>
            <p:spPr bwMode="auto">
              <a:xfrm>
                <a:off x="8517445" y="3745864"/>
                <a:ext cx="552845" cy="15318"/>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Rectangle 40"/>
              <p:cNvSpPr>
                <a:spLocks noChangeArrowheads="1"/>
              </p:cNvSpPr>
              <p:nvPr userDrawn="1"/>
            </p:nvSpPr>
            <p:spPr bwMode="auto">
              <a:xfrm>
                <a:off x="8517445" y="3814100"/>
                <a:ext cx="552845" cy="15318"/>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Rectangle 42"/>
              <p:cNvSpPr>
                <a:spLocks noChangeArrowheads="1"/>
              </p:cNvSpPr>
              <p:nvPr userDrawn="1"/>
            </p:nvSpPr>
            <p:spPr bwMode="auto">
              <a:xfrm>
                <a:off x="8517445" y="3880942"/>
                <a:ext cx="552845" cy="16711"/>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Rectangle 43"/>
              <p:cNvSpPr>
                <a:spLocks noChangeArrowheads="1"/>
              </p:cNvSpPr>
              <p:nvPr userDrawn="1"/>
            </p:nvSpPr>
            <p:spPr bwMode="auto">
              <a:xfrm>
                <a:off x="8517445" y="3949178"/>
                <a:ext cx="552845" cy="15318"/>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Rectangle 55"/>
              <p:cNvSpPr>
                <a:spLocks noChangeArrowheads="1"/>
              </p:cNvSpPr>
              <p:nvPr userDrawn="1"/>
            </p:nvSpPr>
            <p:spPr bwMode="auto">
              <a:xfrm>
                <a:off x="8731898" y="3188843"/>
                <a:ext cx="348138" cy="19496"/>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Rectangle 56"/>
              <p:cNvSpPr>
                <a:spLocks noChangeArrowheads="1"/>
              </p:cNvSpPr>
              <p:nvPr userDrawn="1"/>
            </p:nvSpPr>
            <p:spPr bwMode="auto">
              <a:xfrm>
                <a:off x="8523015" y="3188843"/>
                <a:ext cx="69628" cy="19496"/>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Rectangle 57"/>
              <p:cNvSpPr>
                <a:spLocks noChangeArrowheads="1"/>
              </p:cNvSpPr>
              <p:nvPr userDrawn="1"/>
            </p:nvSpPr>
            <p:spPr bwMode="auto">
              <a:xfrm>
                <a:off x="8627457" y="3188843"/>
                <a:ext cx="71021" cy="19496"/>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31" name="Rectangle 27"/>
            <p:cNvSpPr>
              <a:spLocks noChangeArrowheads="1"/>
            </p:cNvSpPr>
            <p:nvPr userDrawn="1"/>
          </p:nvSpPr>
          <p:spPr bwMode="auto">
            <a:xfrm>
              <a:off x="8090115" y="2978566"/>
              <a:ext cx="1839613" cy="147612"/>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Rectangle 58"/>
            <p:cNvSpPr>
              <a:spLocks noChangeArrowheads="1"/>
            </p:cNvSpPr>
            <p:nvPr userDrawn="1"/>
          </p:nvSpPr>
          <p:spPr bwMode="auto">
            <a:xfrm>
              <a:off x="9773973" y="3028698"/>
              <a:ext cx="64058" cy="55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59"/>
            <p:cNvSpPr>
              <a:spLocks/>
            </p:cNvSpPr>
            <p:nvPr userDrawn="1"/>
          </p:nvSpPr>
          <p:spPr bwMode="auto">
            <a:xfrm>
              <a:off x="9773973" y="3028698"/>
              <a:ext cx="64058" cy="5570"/>
            </a:xfrm>
            <a:custGeom>
              <a:avLst/>
              <a:gdLst>
                <a:gd name="T0" fmla="*/ 0 w 46"/>
                <a:gd name="T1" fmla="*/ 4 h 4"/>
                <a:gd name="T2" fmla="*/ 46 w 46"/>
                <a:gd name="T3" fmla="*/ 4 h 4"/>
                <a:gd name="T4" fmla="*/ 46 w 46"/>
                <a:gd name="T5" fmla="*/ 0 h 4"/>
                <a:gd name="T6" fmla="*/ 0 w 46"/>
                <a:gd name="T7" fmla="*/ 0 h 4"/>
              </a:gdLst>
              <a:ahLst/>
              <a:cxnLst>
                <a:cxn ang="0">
                  <a:pos x="T0" y="T1"/>
                </a:cxn>
                <a:cxn ang="0">
                  <a:pos x="T2" y="T3"/>
                </a:cxn>
                <a:cxn ang="0">
                  <a:pos x="T4" y="T5"/>
                </a:cxn>
                <a:cxn ang="0">
                  <a:pos x="T6" y="T7"/>
                </a:cxn>
              </a:cxnLst>
              <a:rect l="0" t="0" r="r" b="b"/>
              <a:pathLst>
                <a:path w="46" h="4">
                  <a:moveTo>
                    <a:pt x="0" y="4"/>
                  </a:moveTo>
                  <a:lnTo>
                    <a:pt x="46" y="4"/>
                  </a:lnTo>
                  <a:lnTo>
                    <a:pt x="4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Rectangle 60"/>
            <p:cNvSpPr>
              <a:spLocks noChangeArrowheads="1"/>
            </p:cNvSpPr>
            <p:nvPr userDrawn="1"/>
          </p:nvSpPr>
          <p:spPr bwMode="auto">
            <a:xfrm>
              <a:off x="9773973" y="3046802"/>
              <a:ext cx="64058" cy="55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61"/>
            <p:cNvSpPr>
              <a:spLocks/>
            </p:cNvSpPr>
            <p:nvPr userDrawn="1"/>
          </p:nvSpPr>
          <p:spPr bwMode="auto">
            <a:xfrm>
              <a:off x="9773973" y="3046802"/>
              <a:ext cx="64058" cy="5570"/>
            </a:xfrm>
            <a:custGeom>
              <a:avLst/>
              <a:gdLst>
                <a:gd name="T0" fmla="*/ 0 w 46"/>
                <a:gd name="T1" fmla="*/ 4 h 4"/>
                <a:gd name="T2" fmla="*/ 46 w 46"/>
                <a:gd name="T3" fmla="*/ 4 h 4"/>
                <a:gd name="T4" fmla="*/ 46 w 46"/>
                <a:gd name="T5" fmla="*/ 0 h 4"/>
                <a:gd name="T6" fmla="*/ 0 w 46"/>
                <a:gd name="T7" fmla="*/ 0 h 4"/>
              </a:gdLst>
              <a:ahLst/>
              <a:cxnLst>
                <a:cxn ang="0">
                  <a:pos x="T0" y="T1"/>
                </a:cxn>
                <a:cxn ang="0">
                  <a:pos x="T2" y="T3"/>
                </a:cxn>
                <a:cxn ang="0">
                  <a:pos x="T4" y="T5"/>
                </a:cxn>
                <a:cxn ang="0">
                  <a:pos x="T6" y="T7"/>
                </a:cxn>
              </a:cxnLst>
              <a:rect l="0" t="0" r="r" b="b"/>
              <a:pathLst>
                <a:path w="46" h="4">
                  <a:moveTo>
                    <a:pt x="0" y="4"/>
                  </a:moveTo>
                  <a:lnTo>
                    <a:pt x="46" y="4"/>
                  </a:lnTo>
                  <a:lnTo>
                    <a:pt x="4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Rectangle 62"/>
            <p:cNvSpPr>
              <a:spLocks noChangeArrowheads="1"/>
            </p:cNvSpPr>
            <p:nvPr userDrawn="1"/>
          </p:nvSpPr>
          <p:spPr bwMode="auto">
            <a:xfrm>
              <a:off x="9773973" y="3064905"/>
              <a:ext cx="64058" cy="55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63"/>
            <p:cNvSpPr>
              <a:spLocks/>
            </p:cNvSpPr>
            <p:nvPr userDrawn="1"/>
          </p:nvSpPr>
          <p:spPr bwMode="auto">
            <a:xfrm>
              <a:off x="9773973" y="3064905"/>
              <a:ext cx="64058" cy="5570"/>
            </a:xfrm>
            <a:custGeom>
              <a:avLst/>
              <a:gdLst>
                <a:gd name="T0" fmla="*/ 0 w 46"/>
                <a:gd name="T1" fmla="*/ 4 h 4"/>
                <a:gd name="T2" fmla="*/ 46 w 46"/>
                <a:gd name="T3" fmla="*/ 4 h 4"/>
                <a:gd name="T4" fmla="*/ 46 w 46"/>
                <a:gd name="T5" fmla="*/ 0 h 4"/>
                <a:gd name="T6" fmla="*/ 0 w 46"/>
                <a:gd name="T7" fmla="*/ 0 h 4"/>
              </a:gdLst>
              <a:ahLst/>
              <a:cxnLst>
                <a:cxn ang="0">
                  <a:pos x="T0" y="T1"/>
                </a:cxn>
                <a:cxn ang="0">
                  <a:pos x="T2" y="T3"/>
                </a:cxn>
                <a:cxn ang="0">
                  <a:pos x="T4" y="T5"/>
                </a:cxn>
                <a:cxn ang="0">
                  <a:pos x="T6" y="T7"/>
                </a:cxn>
              </a:cxnLst>
              <a:rect l="0" t="0" r="r" b="b"/>
              <a:pathLst>
                <a:path w="46" h="4">
                  <a:moveTo>
                    <a:pt x="0" y="4"/>
                  </a:moveTo>
                  <a:lnTo>
                    <a:pt x="46" y="4"/>
                  </a:lnTo>
                  <a:lnTo>
                    <a:pt x="4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nvGrpSpPr>
            <p:cNvPr id="10" name="Group 9"/>
            <p:cNvGrpSpPr/>
            <p:nvPr userDrawn="1"/>
          </p:nvGrpSpPr>
          <p:grpSpPr>
            <a:xfrm>
              <a:off x="8517445" y="3658133"/>
              <a:ext cx="304970" cy="306363"/>
              <a:chOff x="8517445" y="3658133"/>
              <a:chExt cx="304970" cy="306363"/>
            </a:xfrm>
          </p:grpSpPr>
          <p:sp>
            <p:nvSpPr>
              <p:cNvPr id="48" name="Rectangle 44"/>
              <p:cNvSpPr>
                <a:spLocks noChangeArrowheads="1"/>
              </p:cNvSpPr>
              <p:nvPr userDrawn="1"/>
            </p:nvSpPr>
            <p:spPr bwMode="auto">
              <a:xfrm>
                <a:off x="8517445" y="3949178"/>
                <a:ext cx="304970" cy="1531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Freeform 48"/>
              <p:cNvSpPr>
                <a:spLocks/>
              </p:cNvSpPr>
              <p:nvPr userDrawn="1"/>
            </p:nvSpPr>
            <p:spPr bwMode="auto">
              <a:xfrm>
                <a:off x="8543904" y="3658133"/>
                <a:ext cx="250660" cy="298007"/>
              </a:xfrm>
              <a:custGeom>
                <a:avLst/>
                <a:gdLst>
                  <a:gd name="T0" fmla="*/ 163 w 192"/>
                  <a:gd name="T1" fmla="*/ 114 h 230"/>
                  <a:gd name="T2" fmla="*/ 96 w 192"/>
                  <a:gd name="T3" fmla="*/ 230 h 230"/>
                  <a:gd name="T4" fmla="*/ 29 w 192"/>
                  <a:gd name="T5" fmla="*/ 114 h 230"/>
                  <a:gd name="T6" fmla="*/ 94 w 192"/>
                  <a:gd name="T7" fmla="*/ 0 h 230"/>
                  <a:gd name="T8" fmla="*/ 97 w 192"/>
                  <a:gd name="T9" fmla="*/ 0 h 230"/>
                  <a:gd name="T10" fmla="*/ 163 w 192"/>
                  <a:gd name="T11" fmla="*/ 114 h 230"/>
                </a:gdLst>
                <a:ahLst/>
                <a:cxnLst>
                  <a:cxn ang="0">
                    <a:pos x="T0" y="T1"/>
                  </a:cxn>
                  <a:cxn ang="0">
                    <a:pos x="T2" y="T3"/>
                  </a:cxn>
                  <a:cxn ang="0">
                    <a:pos x="T4" y="T5"/>
                  </a:cxn>
                  <a:cxn ang="0">
                    <a:pos x="T6" y="T7"/>
                  </a:cxn>
                  <a:cxn ang="0">
                    <a:pos x="T8" y="T9"/>
                  </a:cxn>
                  <a:cxn ang="0">
                    <a:pos x="T10" y="T11"/>
                  </a:cxn>
                </a:cxnLst>
                <a:rect l="0" t="0" r="r" b="b"/>
                <a:pathLst>
                  <a:path w="192" h="230">
                    <a:moveTo>
                      <a:pt x="163" y="114"/>
                    </a:moveTo>
                    <a:cubicBezTo>
                      <a:pt x="96" y="230"/>
                      <a:pt x="96" y="230"/>
                      <a:pt x="96" y="230"/>
                    </a:cubicBezTo>
                    <a:cubicBezTo>
                      <a:pt x="29" y="114"/>
                      <a:pt x="29" y="114"/>
                      <a:pt x="29" y="114"/>
                    </a:cubicBezTo>
                    <a:cubicBezTo>
                      <a:pt x="0" y="64"/>
                      <a:pt x="36" y="0"/>
                      <a:pt x="94" y="0"/>
                    </a:cubicBezTo>
                    <a:cubicBezTo>
                      <a:pt x="97" y="0"/>
                      <a:pt x="97" y="0"/>
                      <a:pt x="97" y="0"/>
                    </a:cubicBezTo>
                    <a:cubicBezTo>
                      <a:pt x="155" y="0"/>
                      <a:pt x="192" y="64"/>
                      <a:pt x="163" y="114"/>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Freeform 64"/>
              <p:cNvSpPr>
                <a:spLocks/>
              </p:cNvSpPr>
              <p:nvPr userDrawn="1"/>
            </p:nvSpPr>
            <p:spPr bwMode="auto">
              <a:xfrm>
                <a:off x="8606568" y="3692947"/>
                <a:ext cx="123938" cy="187996"/>
              </a:xfrm>
              <a:custGeom>
                <a:avLst/>
                <a:gdLst>
                  <a:gd name="T0" fmla="*/ 95 w 95"/>
                  <a:gd name="T1" fmla="*/ 69 h 145"/>
                  <a:gd name="T2" fmla="*/ 93 w 95"/>
                  <a:gd name="T3" fmla="*/ 63 h 145"/>
                  <a:gd name="T4" fmla="*/ 93 w 95"/>
                  <a:gd name="T5" fmla="*/ 45 h 145"/>
                  <a:gd name="T6" fmla="*/ 48 w 95"/>
                  <a:gd name="T7" fmla="*/ 0 h 145"/>
                  <a:gd name="T8" fmla="*/ 47 w 95"/>
                  <a:gd name="T9" fmla="*/ 0 h 145"/>
                  <a:gd name="T10" fmla="*/ 3 w 95"/>
                  <a:gd name="T11" fmla="*/ 45 h 145"/>
                  <a:gd name="T12" fmla="*/ 3 w 95"/>
                  <a:gd name="T13" fmla="*/ 63 h 145"/>
                  <a:gd name="T14" fmla="*/ 0 w 95"/>
                  <a:gd name="T15" fmla="*/ 69 h 145"/>
                  <a:gd name="T16" fmla="*/ 9 w 95"/>
                  <a:gd name="T17" fmla="*/ 78 h 145"/>
                  <a:gd name="T18" fmla="*/ 9 w 95"/>
                  <a:gd name="T19" fmla="*/ 80 h 145"/>
                  <a:gd name="T20" fmla="*/ 24 w 95"/>
                  <a:gd name="T21" fmla="*/ 112 h 145"/>
                  <a:gd name="T22" fmla="*/ 24 w 95"/>
                  <a:gd name="T23" fmla="*/ 121 h 145"/>
                  <a:gd name="T24" fmla="*/ 48 w 95"/>
                  <a:gd name="T25" fmla="*/ 145 h 145"/>
                  <a:gd name="T26" fmla="*/ 48 w 95"/>
                  <a:gd name="T27" fmla="*/ 145 h 145"/>
                  <a:gd name="T28" fmla="*/ 72 w 95"/>
                  <a:gd name="T29" fmla="*/ 121 h 145"/>
                  <a:gd name="T30" fmla="*/ 72 w 95"/>
                  <a:gd name="T31" fmla="*/ 112 h 145"/>
                  <a:gd name="T32" fmla="*/ 87 w 95"/>
                  <a:gd name="T33" fmla="*/ 80 h 145"/>
                  <a:gd name="T34" fmla="*/ 87 w 95"/>
                  <a:gd name="T35" fmla="*/ 78 h 145"/>
                  <a:gd name="T36" fmla="*/ 95 w 95"/>
                  <a:gd name="T37" fmla="*/ 6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 h="145">
                    <a:moveTo>
                      <a:pt x="95" y="69"/>
                    </a:moveTo>
                    <a:cubicBezTo>
                      <a:pt x="95" y="67"/>
                      <a:pt x="94" y="65"/>
                      <a:pt x="93" y="63"/>
                    </a:cubicBezTo>
                    <a:cubicBezTo>
                      <a:pt x="93" y="45"/>
                      <a:pt x="93" y="45"/>
                      <a:pt x="93" y="45"/>
                    </a:cubicBezTo>
                    <a:cubicBezTo>
                      <a:pt x="93" y="20"/>
                      <a:pt x="73" y="0"/>
                      <a:pt x="48" y="0"/>
                    </a:cubicBezTo>
                    <a:cubicBezTo>
                      <a:pt x="47" y="0"/>
                      <a:pt x="47" y="0"/>
                      <a:pt x="47" y="0"/>
                    </a:cubicBezTo>
                    <a:cubicBezTo>
                      <a:pt x="23" y="0"/>
                      <a:pt x="3" y="20"/>
                      <a:pt x="3" y="45"/>
                    </a:cubicBezTo>
                    <a:cubicBezTo>
                      <a:pt x="3" y="63"/>
                      <a:pt x="3" y="63"/>
                      <a:pt x="3" y="63"/>
                    </a:cubicBezTo>
                    <a:cubicBezTo>
                      <a:pt x="1" y="65"/>
                      <a:pt x="0" y="67"/>
                      <a:pt x="0" y="69"/>
                    </a:cubicBezTo>
                    <a:cubicBezTo>
                      <a:pt x="0" y="74"/>
                      <a:pt x="4" y="78"/>
                      <a:pt x="9" y="78"/>
                    </a:cubicBezTo>
                    <a:cubicBezTo>
                      <a:pt x="9" y="80"/>
                      <a:pt x="9" y="80"/>
                      <a:pt x="9" y="80"/>
                    </a:cubicBezTo>
                    <a:cubicBezTo>
                      <a:pt x="8" y="93"/>
                      <a:pt x="14" y="105"/>
                      <a:pt x="24" y="112"/>
                    </a:cubicBezTo>
                    <a:cubicBezTo>
                      <a:pt x="24" y="121"/>
                      <a:pt x="24" y="121"/>
                      <a:pt x="24" y="121"/>
                    </a:cubicBezTo>
                    <a:cubicBezTo>
                      <a:pt x="24" y="134"/>
                      <a:pt x="34" y="145"/>
                      <a:pt x="48" y="145"/>
                    </a:cubicBezTo>
                    <a:cubicBezTo>
                      <a:pt x="48" y="145"/>
                      <a:pt x="48" y="145"/>
                      <a:pt x="48" y="145"/>
                    </a:cubicBezTo>
                    <a:cubicBezTo>
                      <a:pt x="61" y="145"/>
                      <a:pt x="72" y="134"/>
                      <a:pt x="72" y="121"/>
                    </a:cubicBezTo>
                    <a:cubicBezTo>
                      <a:pt x="72" y="112"/>
                      <a:pt x="72" y="112"/>
                      <a:pt x="72" y="112"/>
                    </a:cubicBezTo>
                    <a:cubicBezTo>
                      <a:pt x="82" y="105"/>
                      <a:pt x="88" y="93"/>
                      <a:pt x="87" y="80"/>
                    </a:cubicBezTo>
                    <a:cubicBezTo>
                      <a:pt x="87" y="78"/>
                      <a:pt x="87" y="78"/>
                      <a:pt x="87" y="78"/>
                    </a:cubicBezTo>
                    <a:cubicBezTo>
                      <a:pt x="92" y="78"/>
                      <a:pt x="95" y="74"/>
                      <a:pt x="95"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7" name="Group 6"/>
            <p:cNvGrpSpPr/>
            <p:nvPr userDrawn="1"/>
          </p:nvGrpSpPr>
          <p:grpSpPr>
            <a:xfrm>
              <a:off x="9422316" y="3384428"/>
              <a:ext cx="250660" cy="309149"/>
              <a:chOff x="8821022" y="3521662"/>
              <a:chExt cx="250660" cy="309149"/>
            </a:xfrm>
          </p:grpSpPr>
          <p:sp>
            <p:nvSpPr>
              <p:cNvPr id="45" name="Rectangle 41"/>
              <p:cNvSpPr>
                <a:spLocks noChangeArrowheads="1"/>
              </p:cNvSpPr>
              <p:nvPr userDrawn="1"/>
            </p:nvSpPr>
            <p:spPr bwMode="auto">
              <a:xfrm>
                <a:off x="8822414" y="3814100"/>
                <a:ext cx="247875" cy="16711"/>
              </a:xfrm>
              <a:prstGeom prst="rect">
                <a:avLst/>
              </a:prstGeom>
              <a:solidFill>
                <a:srgbClr val="40C5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Freeform 47"/>
              <p:cNvSpPr>
                <a:spLocks/>
              </p:cNvSpPr>
              <p:nvPr userDrawn="1"/>
            </p:nvSpPr>
            <p:spPr bwMode="auto">
              <a:xfrm>
                <a:off x="8821022" y="3521662"/>
                <a:ext cx="250660" cy="298007"/>
              </a:xfrm>
              <a:custGeom>
                <a:avLst/>
                <a:gdLst>
                  <a:gd name="T0" fmla="*/ 163 w 192"/>
                  <a:gd name="T1" fmla="*/ 114 h 230"/>
                  <a:gd name="T2" fmla="*/ 96 w 192"/>
                  <a:gd name="T3" fmla="*/ 230 h 230"/>
                  <a:gd name="T4" fmla="*/ 29 w 192"/>
                  <a:gd name="T5" fmla="*/ 114 h 230"/>
                  <a:gd name="T6" fmla="*/ 95 w 192"/>
                  <a:gd name="T7" fmla="*/ 0 h 230"/>
                  <a:gd name="T8" fmla="*/ 97 w 192"/>
                  <a:gd name="T9" fmla="*/ 0 h 230"/>
                  <a:gd name="T10" fmla="*/ 163 w 192"/>
                  <a:gd name="T11" fmla="*/ 114 h 230"/>
                </a:gdLst>
                <a:ahLst/>
                <a:cxnLst>
                  <a:cxn ang="0">
                    <a:pos x="T0" y="T1"/>
                  </a:cxn>
                  <a:cxn ang="0">
                    <a:pos x="T2" y="T3"/>
                  </a:cxn>
                  <a:cxn ang="0">
                    <a:pos x="T4" y="T5"/>
                  </a:cxn>
                  <a:cxn ang="0">
                    <a:pos x="T6" y="T7"/>
                  </a:cxn>
                  <a:cxn ang="0">
                    <a:pos x="T8" y="T9"/>
                  </a:cxn>
                  <a:cxn ang="0">
                    <a:pos x="T10" y="T11"/>
                  </a:cxn>
                </a:cxnLst>
                <a:rect l="0" t="0" r="r" b="b"/>
                <a:pathLst>
                  <a:path w="192" h="230">
                    <a:moveTo>
                      <a:pt x="163" y="114"/>
                    </a:moveTo>
                    <a:cubicBezTo>
                      <a:pt x="96" y="230"/>
                      <a:pt x="96" y="230"/>
                      <a:pt x="96" y="230"/>
                    </a:cubicBezTo>
                    <a:cubicBezTo>
                      <a:pt x="29" y="114"/>
                      <a:pt x="29" y="114"/>
                      <a:pt x="29" y="114"/>
                    </a:cubicBezTo>
                    <a:cubicBezTo>
                      <a:pt x="0" y="64"/>
                      <a:pt x="36" y="0"/>
                      <a:pt x="95" y="0"/>
                    </a:cubicBezTo>
                    <a:cubicBezTo>
                      <a:pt x="97" y="0"/>
                      <a:pt x="97" y="0"/>
                      <a:pt x="97" y="0"/>
                    </a:cubicBezTo>
                    <a:cubicBezTo>
                      <a:pt x="156" y="0"/>
                      <a:pt x="192" y="63"/>
                      <a:pt x="163" y="114"/>
                    </a:cubicBezTo>
                    <a:close/>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51"/>
              <p:cNvSpPr>
                <a:spLocks/>
              </p:cNvSpPr>
              <p:nvPr userDrawn="1"/>
            </p:nvSpPr>
            <p:spPr bwMode="auto">
              <a:xfrm>
                <a:off x="8890650" y="3553691"/>
                <a:ext cx="111404" cy="176856"/>
              </a:xfrm>
              <a:custGeom>
                <a:avLst/>
                <a:gdLst>
                  <a:gd name="T0" fmla="*/ 86 w 86"/>
                  <a:gd name="T1" fmla="*/ 62 h 136"/>
                  <a:gd name="T2" fmla="*/ 84 w 86"/>
                  <a:gd name="T3" fmla="*/ 57 h 136"/>
                  <a:gd name="T4" fmla="*/ 84 w 86"/>
                  <a:gd name="T5" fmla="*/ 40 h 136"/>
                  <a:gd name="T6" fmla="*/ 43 w 86"/>
                  <a:gd name="T7" fmla="*/ 0 h 136"/>
                  <a:gd name="T8" fmla="*/ 42 w 86"/>
                  <a:gd name="T9" fmla="*/ 0 h 136"/>
                  <a:gd name="T10" fmla="*/ 2 w 86"/>
                  <a:gd name="T11" fmla="*/ 40 h 136"/>
                  <a:gd name="T12" fmla="*/ 2 w 86"/>
                  <a:gd name="T13" fmla="*/ 57 h 136"/>
                  <a:gd name="T14" fmla="*/ 0 w 86"/>
                  <a:gd name="T15" fmla="*/ 62 h 136"/>
                  <a:gd name="T16" fmla="*/ 2 w 86"/>
                  <a:gd name="T17" fmla="*/ 68 h 136"/>
                  <a:gd name="T18" fmla="*/ 2 w 86"/>
                  <a:gd name="T19" fmla="*/ 102 h 136"/>
                  <a:gd name="T20" fmla="*/ 3 w 86"/>
                  <a:gd name="T21" fmla="*/ 102 h 136"/>
                  <a:gd name="T22" fmla="*/ 23 w 86"/>
                  <a:gd name="T23" fmla="*/ 96 h 136"/>
                  <a:gd name="T24" fmla="*/ 25 w 86"/>
                  <a:gd name="T25" fmla="*/ 97 h 136"/>
                  <a:gd name="T26" fmla="*/ 25 w 86"/>
                  <a:gd name="T27" fmla="*/ 109 h 136"/>
                  <a:gd name="T28" fmla="*/ 16 w 86"/>
                  <a:gd name="T29" fmla="*/ 109 h 136"/>
                  <a:gd name="T30" fmla="*/ 43 w 86"/>
                  <a:gd name="T31" fmla="*/ 136 h 136"/>
                  <a:gd name="T32" fmla="*/ 70 w 86"/>
                  <a:gd name="T33" fmla="*/ 109 h 136"/>
                  <a:gd name="T34" fmla="*/ 61 w 86"/>
                  <a:gd name="T35" fmla="*/ 109 h 136"/>
                  <a:gd name="T36" fmla="*/ 61 w 86"/>
                  <a:gd name="T37" fmla="*/ 97 h 136"/>
                  <a:gd name="T38" fmla="*/ 63 w 86"/>
                  <a:gd name="T39" fmla="*/ 96 h 136"/>
                  <a:gd name="T40" fmla="*/ 83 w 86"/>
                  <a:gd name="T41" fmla="*/ 102 h 136"/>
                  <a:gd name="T42" fmla="*/ 84 w 86"/>
                  <a:gd name="T43" fmla="*/ 102 h 136"/>
                  <a:gd name="T44" fmla="*/ 84 w 86"/>
                  <a:gd name="T45" fmla="*/ 68 h 136"/>
                  <a:gd name="T46" fmla="*/ 86 w 86"/>
                  <a:gd name="T47" fmla="*/ 6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136">
                    <a:moveTo>
                      <a:pt x="86" y="62"/>
                    </a:moveTo>
                    <a:cubicBezTo>
                      <a:pt x="86" y="60"/>
                      <a:pt x="85" y="58"/>
                      <a:pt x="84" y="57"/>
                    </a:cubicBezTo>
                    <a:cubicBezTo>
                      <a:pt x="84" y="40"/>
                      <a:pt x="84" y="40"/>
                      <a:pt x="84" y="40"/>
                    </a:cubicBezTo>
                    <a:cubicBezTo>
                      <a:pt x="84" y="18"/>
                      <a:pt x="66" y="0"/>
                      <a:pt x="43" y="0"/>
                    </a:cubicBezTo>
                    <a:cubicBezTo>
                      <a:pt x="42" y="0"/>
                      <a:pt x="42" y="0"/>
                      <a:pt x="42" y="0"/>
                    </a:cubicBezTo>
                    <a:cubicBezTo>
                      <a:pt x="20" y="0"/>
                      <a:pt x="2" y="18"/>
                      <a:pt x="2" y="40"/>
                    </a:cubicBezTo>
                    <a:cubicBezTo>
                      <a:pt x="2" y="57"/>
                      <a:pt x="2" y="57"/>
                      <a:pt x="2" y="57"/>
                    </a:cubicBezTo>
                    <a:cubicBezTo>
                      <a:pt x="1" y="58"/>
                      <a:pt x="0" y="60"/>
                      <a:pt x="0" y="62"/>
                    </a:cubicBezTo>
                    <a:cubicBezTo>
                      <a:pt x="0" y="64"/>
                      <a:pt x="1" y="66"/>
                      <a:pt x="2" y="68"/>
                    </a:cubicBezTo>
                    <a:cubicBezTo>
                      <a:pt x="2" y="102"/>
                      <a:pt x="2" y="102"/>
                      <a:pt x="2" y="102"/>
                    </a:cubicBezTo>
                    <a:cubicBezTo>
                      <a:pt x="3" y="102"/>
                      <a:pt x="3" y="102"/>
                      <a:pt x="3" y="102"/>
                    </a:cubicBezTo>
                    <a:cubicBezTo>
                      <a:pt x="10" y="102"/>
                      <a:pt x="17" y="100"/>
                      <a:pt x="23" y="96"/>
                    </a:cubicBezTo>
                    <a:cubicBezTo>
                      <a:pt x="24" y="97"/>
                      <a:pt x="24" y="97"/>
                      <a:pt x="25" y="97"/>
                    </a:cubicBezTo>
                    <a:cubicBezTo>
                      <a:pt x="25" y="109"/>
                      <a:pt x="25" y="109"/>
                      <a:pt x="25" y="109"/>
                    </a:cubicBezTo>
                    <a:cubicBezTo>
                      <a:pt x="16" y="109"/>
                      <a:pt x="16" y="109"/>
                      <a:pt x="16" y="109"/>
                    </a:cubicBezTo>
                    <a:cubicBezTo>
                      <a:pt x="16" y="124"/>
                      <a:pt x="28" y="136"/>
                      <a:pt x="43" y="136"/>
                    </a:cubicBezTo>
                    <a:cubicBezTo>
                      <a:pt x="58" y="136"/>
                      <a:pt x="70" y="124"/>
                      <a:pt x="70" y="109"/>
                    </a:cubicBezTo>
                    <a:cubicBezTo>
                      <a:pt x="61" y="109"/>
                      <a:pt x="61" y="109"/>
                      <a:pt x="61" y="109"/>
                    </a:cubicBezTo>
                    <a:cubicBezTo>
                      <a:pt x="61" y="97"/>
                      <a:pt x="61" y="97"/>
                      <a:pt x="61" y="97"/>
                    </a:cubicBezTo>
                    <a:cubicBezTo>
                      <a:pt x="61" y="97"/>
                      <a:pt x="62" y="97"/>
                      <a:pt x="63" y="96"/>
                    </a:cubicBezTo>
                    <a:cubicBezTo>
                      <a:pt x="69" y="100"/>
                      <a:pt x="76" y="102"/>
                      <a:pt x="83" y="102"/>
                    </a:cubicBezTo>
                    <a:cubicBezTo>
                      <a:pt x="84" y="102"/>
                      <a:pt x="84" y="102"/>
                      <a:pt x="84" y="102"/>
                    </a:cubicBezTo>
                    <a:cubicBezTo>
                      <a:pt x="84" y="68"/>
                      <a:pt x="84" y="68"/>
                      <a:pt x="84" y="68"/>
                    </a:cubicBezTo>
                    <a:cubicBezTo>
                      <a:pt x="85" y="66"/>
                      <a:pt x="86" y="64"/>
                      <a:pt x="86"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5" name="Group 4"/>
            <p:cNvGrpSpPr/>
            <p:nvPr userDrawn="1"/>
          </p:nvGrpSpPr>
          <p:grpSpPr>
            <a:xfrm>
              <a:off x="8803872" y="3316958"/>
              <a:ext cx="252054" cy="309148"/>
              <a:chOff x="8500734" y="3316958"/>
              <a:chExt cx="252054" cy="309148"/>
            </a:xfrm>
          </p:grpSpPr>
          <p:sp>
            <p:nvSpPr>
              <p:cNvPr id="40" name="Rectangle 36"/>
              <p:cNvSpPr>
                <a:spLocks noChangeArrowheads="1"/>
              </p:cNvSpPr>
              <p:nvPr userDrawn="1"/>
            </p:nvSpPr>
            <p:spPr bwMode="auto">
              <a:xfrm>
                <a:off x="8517445" y="3609395"/>
                <a:ext cx="218632" cy="16711"/>
              </a:xfrm>
              <a:prstGeom prst="rect">
                <a:avLst/>
              </a:prstGeom>
              <a:solidFill>
                <a:srgbClr val="5C2D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Freeform 45"/>
              <p:cNvSpPr>
                <a:spLocks/>
              </p:cNvSpPr>
              <p:nvPr userDrawn="1"/>
            </p:nvSpPr>
            <p:spPr bwMode="auto">
              <a:xfrm>
                <a:off x="8500734" y="3316958"/>
                <a:ext cx="252054" cy="298007"/>
              </a:xfrm>
              <a:custGeom>
                <a:avLst/>
                <a:gdLst>
                  <a:gd name="T0" fmla="*/ 164 w 193"/>
                  <a:gd name="T1" fmla="*/ 113 h 229"/>
                  <a:gd name="T2" fmla="*/ 97 w 193"/>
                  <a:gd name="T3" fmla="*/ 229 h 229"/>
                  <a:gd name="T4" fmla="*/ 30 w 193"/>
                  <a:gd name="T5" fmla="*/ 113 h 229"/>
                  <a:gd name="T6" fmla="*/ 95 w 193"/>
                  <a:gd name="T7" fmla="*/ 0 h 229"/>
                  <a:gd name="T8" fmla="*/ 98 w 193"/>
                  <a:gd name="T9" fmla="*/ 0 h 229"/>
                  <a:gd name="T10" fmla="*/ 164 w 193"/>
                  <a:gd name="T11" fmla="*/ 113 h 229"/>
                </a:gdLst>
                <a:ahLst/>
                <a:cxnLst>
                  <a:cxn ang="0">
                    <a:pos x="T0" y="T1"/>
                  </a:cxn>
                  <a:cxn ang="0">
                    <a:pos x="T2" y="T3"/>
                  </a:cxn>
                  <a:cxn ang="0">
                    <a:pos x="T4" y="T5"/>
                  </a:cxn>
                  <a:cxn ang="0">
                    <a:pos x="T6" y="T7"/>
                  </a:cxn>
                  <a:cxn ang="0">
                    <a:pos x="T8" y="T9"/>
                  </a:cxn>
                  <a:cxn ang="0">
                    <a:pos x="T10" y="T11"/>
                  </a:cxn>
                </a:cxnLst>
                <a:rect l="0" t="0" r="r" b="b"/>
                <a:pathLst>
                  <a:path w="193" h="229">
                    <a:moveTo>
                      <a:pt x="164" y="113"/>
                    </a:moveTo>
                    <a:cubicBezTo>
                      <a:pt x="97" y="229"/>
                      <a:pt x="97" y="229"/>
                      <a:pt x="97" y="229"/>
                    </a:cubicBezTo>
                    <a:cubicBezTo>
                      <a:pt x="30" y="113"/>
                      <a:pt x="30" y="113"/>
                      <a:pt x="30" y="113"/>
                    </a:cubicBezTo>
                    <a:cubicBezTo>
                      <a:pt x="0" y="63"/>
                      <a:pt x="37" y="0"/>
                      <a:pt x="95" y="0"/>
                    </a:cubicBezTo>
                    <a:cubicBezTo>
                      <a:pt x="98" y="0"/>
                      <a:pt x="98" y="0"/>
                      <a:pt x="98" y="0"/>
                    </a:cubicBezTo>
                    <a:cubicBezTo>
                      <a:pt x="156" y="0"/>
                      <a:pt x="193" y="63"/>
                      <a:pt x="164" y="113"/>
                    </a:cubicBez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Freeform 46"/>
              <p:cNvSpPr>
                <a:spLocks/>
              </p:cNvSpPr>
              <p:nvPr userDrawn="1"/>
            </p:nvSpPr>
            <p:spPr bwMode="auto">
              <a:xfrm>
                <a:off x="8573147" y="3348986"/>
                <a:ext cx="105834" cy="190781"/>
              </a:xfrm>
              <a:custGeom>
                <a:avLst/>
                <a:gdLst>
                  <a:gd name="T0" fmla="*/ 81 w 81"/>
                  <a:gd name="T1" fmla="*/ 78 h 147"/>
                  <a:gd name="T2" fmla="*/ 78 w 81"/>
                  <a:gd name="T3" fmla="*/ 71 h 147"/>
                  <a:gd name="T4" fmla="*/ 78 w 81"/>
                  <a:gd name="T5" fmla="*/ 64 h 147"/>
                  <a:gd name="T6" fmla="*/ 78 w 81"/>
                  <a:gd name="T7" fmla="*/ 57 h 147"/>
                  <a:gd name="T8" fmla="*/ 58 w 81"/>
                  <a:gd name="T9" fmla="*/ 24 h 147"/>
                  <a:gd name="T10" fmla="*/ 59 w 81"/>
                  <a:gd name="T11" fmla="*/ 18 h 147"/>
                  <a:gd name="T12" fmla="*/ 41 w 81"/>
                  <a:gd name="T13" fmla="*/ 0 h 147"/>
                  <a:gd name="T14" fmla="*/ 23 w 81"/>
                  <a:gd name="T15" fmla="*/ 18 h 147"/>
                  <a:gd name="T16" fmla="*/ 23 w 81"/>
                  <a:gd name="T17" fmla="*/ 24 h 147"/>
                  <a:gd name="T18" fmla="*/ 3 w 81"/>
                  <a:gd name="T19" fmla="*/ 57 h 147"/>
                  <a:gd name="T20" fmla="*/ 3 w 81"/>
                  <a:gd name="T21" fmla="*/ 64 h 147"/>
                  <a:gd name="T22" fmla="*/ 3 w 81"/>
                  <a:gd name="T23" fmla="*/ 72 h 147"/>
                  <a:gd name="T24" fmla="*/ 0 w 81"/>
                  <a:gd name="T25" fmla="*/ 78 h 147"/>
                  <a:gd name="T26" fmla="*/ 3 w 81"/>
                  <a:gd name="T27" fmla="*/ 84 h 147"/>
                  <a:gd name="T28" fmla="*/ 3 w 81"/>
                  <a:gd name="T29" fmla="*/ 96 h 147"/>
                  <a:gd name="T30" fmla="*/ 8 w 81"/>
                  <a:gd name="T31" fmla="*/ 110 h 147"/>
                  <a:gd name="T32" fmla="*/ 8 w 81"/>
                  <a:gd name="T33" fmla="*/ 110 h 147"/>
                  <a:gd name="T34" fmla="*/ 8 w 81"/>
                  <a:gd name="T35" fmla="*/ 92 h 147"/>
                  <a:gd name="T36" fmla="*/ 24 w 81"/>
                  <a:gd name="T37" fmla="*/ 111 h 147"/>
                  <a:gd name="T38" fmla="*/ 24 w 81"/>
                  <a:gd name="T39" fmla="*/ 122 h 147"/>
                  <a:gd name="T40" fmla="*/ 15 w 81"/>
                  <a:gd name="T41" fmla="*/ 122 h 147"/>
                  <a:gd name="T42" fmla="*/ 41 w 81"/>
                  <a:gd name="T43" fmla="*/ 147 h 147"/>
                  <a:gd name="T44" fmla="*/ 66 w 81"/>
                  <a:gd name="T45" fmla="*/ 122 h 147"/>
                  <a:gd name="T46" fmla="*/ 58 w 81"/>
                  <a:gd name="T47" fmla="*/ 122 h 147"/>
                  <a:gd name="T48" fmla="*/ 58 w 81"/>
                  <a:gd name="T49" fmla="*/ 111 h 147"/>
                  <a:gd name="T50" fmla="*/ 73 w 81"/>
                  <a:gd name="T51" fmla="*/ 92 h 147"/>
                  <a:gd name="T52" fmla="*/ 73 w 81"/>
                  <a:gd name="T53" fmla="*/ 110 h 147"/>
                  <a:gd name="T54" fmla="*/ 73 w 81"/>
                  <a:gd name="T55" fmla="*/ 110 h 147"/>
                  <a:gd name="T56" fmla="*/ 78 w 81"/>
                  <a:gd name="T57" fmla="*/ 96 h 147"/>
                  <a:gd name="T58" fmla="*/ 78 w 81"/>
                  <a:gd name="T59" fmla="*/ 84 h 147"/>
                  <a:gd name="T60" fmla="*/ 81 w 81"/>
                  <a:gd name="T61" fmla="*/ 7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1" h="147">
                    <a:moveTo>
                      <a:pt x="81" y="78"/>
                    </a:moveTo>
                    <a:cubicBezTo>
                      <a:pt x="81" y="75"/>
                      <a:pt x="80" y="73"/>
                      <a:pt x="78" y="71"/>
                    </a:cubicBezTo>
                    <a:cubicBezTo>
                      <a:pt x="78" y="64"/>
                      <a:pt x="78" y="64"/>
                      <a:pt x="78" y="64"/>
                    </a:cubicBezTo>
                    <a:cubicBezTo>
                      <a:pt x="78" y="57"/>
                      <a:pt x="78" y="57"/>
                      <a:pt x="78" y="57"/>
                    </a:cubicBezTo>
                    <a:cubicBezTo>
                      <a:pt x="78" y="42"/>
                      <a:pt x="70" y="30"/>
                      <a:pt x="58" y="24"/>
                    </a:cubicBezTo>
                    <a:cubicBezTo>
                      <a:pt x="58" y="22"/>
                      <a:pt x="59" y="20"/>
                      <a:pt x="59" y="18"/>
                    </a:cubicBezTo>
                    <a:cubicBezTo>
                      <a:pt x="59" y="8"/>
                      <a:pt x="51" y="0"/>
                      <a:pt x="41" y="0"/>
                    </a:cubicBezTo>
                    <a:cubicBezTo>
                      <a:pt x="31" y="0"/>
                      <a:pt x="23" y="8"/>
                      <a:pt x="23" y="18"/>
                    </a:cubicBezTo>
                    <a:cubicBezTo>
                      <a:pt x="23" y="20"/>
                      <a:pt x="23" y="22"/>
                      <a:pt x="23" y="24"/>
                    </a:cubicBezTo>
                    <a:cubicBezTo>
                      <a:pt x="11" y="30"/>
                      <a:pt x="3" y="42"/>
                      <a:pt x="3" y="57"/>
                    </a:cubicBezTo>
                    <a:cubicBezTo>
                      <a:pt x="3" y="64"/>
                      <a:pt x="3" y="64"/>
                      <a:pt x="3" y="64"/>
                    </a:cubicBezTo>
                    <a:cubicBezTo>
                      <a:pt x="3" y="72"/>
                      <a:pt x="3" y="72"/>
                      <a:pt x="3" y="72"/>
                    </a:cubicBezTo>
                    <a:cubicBezTo>
                      <a:pt x="1" y="73"/>
                      <a:pt x="0" y="75"/>
                      <a:pt x="0" y="78"/>
                    </a:cubicBezTo>
                    <a:cubicBezTo>
                      <a:pt x="0" y="80"/>
                      <a:pt x="1" y="83"/>
                      <a:pt x="3" y="84"/>
                    </a:cubicBezTo>
                    <a:cubicBezTo>
                      <a:pt x="3" y="96"/>
                      <a:pt x="3" y="96"/>
                      <a:pt x="3" y="96"/>
                    </a:cubicBezTo>
                    <a:cubicBezTo>
                      <a:pt x="3" y="101"/>
                      <a:pt x="5" y="106"/>
                      <a:pt x="8" y="110"/>
                    </a:cubicBezTo>
                    <a:cubicBezTo>
                      <a:pt x="8" y="110"/>
                      <a:pt x="8" y="110"/>
                      <a:pt x="8" y="110"/>
                    </a:cubicBezTo>
                    <a:cubicBezTo>
                      <a:pt x="8" y="92"/>
                      <a:pt x="8" y="92"/>
                      <a:pt x="8" y="92"/>
                    </a:cubicBezTo>
                    <a:cubicBezTo>
                      <a:pt x="11" y="100"/>
                      <a:pt x="16" y="107"/>
                      <a:pt x="24" y="111"/>
                    </a:cubicBezTo>
                    <a:cubicBezTo>
                      <a:pt x="24" y="122"/>
                      <a:pt x="24" y="122"/>
                      <a:pt x="24" y="122"/>
                    </a:cubicBezTo>
                    <a:cubicBezTo>
                      <a:pt x="15" y="122"/>
                      <a:pt x="15" y="122"/>
                      <a:pt x="15" y="122"/>
                    </a:cubicBezTo>
                    <a:cubicBezTo>
                      <a:pt x="15" y="136"/>
                      <a:pt x="27" y="147"/>
                      <a:pt x="41" y="147"/>
                    </a:cubicBezTo>
                    <a:cubicBezTo>
                      <a:pt x="55" y="147"/>
                      <a:pt x="66" y="136"/>
                      <a:pt x="66" y="122"/>
                    </a:cubicBezTo>
                    <a:cubicBezTo>
                      <a:pt x="58" y="122"/>
                      <a:pt x="58" y="122"/>
                      <a:pt x="58" y="122"/>
                    </a:cubicBezTo>
                    <a:cubicBezTo>
                      <a:pt x="58" y="111"/>
                      <a:pt x="58" y="111"/>
                      <a:pt x="58" y="111"/>
                    </a:cubicBezTo>
                    <a:cubicBezTo>
                      <a:pt x="65" y="107"/>
                      <a:pt x="70" y="100"/>
                      <a:pt x="73" y="92"/>
                    </a:cubicBezTo>
                    <a:cubicBezTo>
                      <a:pt x="73" y="110"/>
                      <a:pt x="73" y="110"/>
                      <a:pt x="73" y="110"/>
                    </a:cubicBezTo>
                    <a:cubicBezTo>
                      <a:pt x="73" y="110"/>
                      <a:pt x="73" y="110"/>
                      <a:pt x="73" y="110"/>
                    </a:cubicBezTo>
                    <a:cubicBezTo>
                      <a:pt x="76" y="106"/>
                      <a:pt x="78" y="101"/>
                      <a:pt x="78" y="96"/>
                    </a:cubicBezTo>
                    <a:cubicBezTo>
                      <a:pt x="78" y="84"/>
                      <a:pt x="78" y="84"/>
                      <a:pt x="78" y="84"/>
                    </a:cubicBezTo>
                    <a:cubicBezTo>
                      <a:pt x="80" y="83"/>
                      <a:pt x="81" y="80"/>
                      <a:pt x="81" y="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spTree>
    <p:extLst>
      <p:ext uri="{BB962C8B-B14F-4D97-AF65-F5344CB8AC3E}">
        <p14:creationId xmlns:p14="http://schemas.microsoft.com/office/powerpoint/2010/main" val="3431385963"/>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esentation Title Edu Grade 6-8">
    <p:spTree>
      <p:nvGrpSpPr>
        <p:cNvPr id="1" name=""/>
        <p:cNvGrpSpPr/>
        <p:nvPr/>
      </p:nvGrpSpPr>
      <p:grpSpPr>
        <a:xfrm>
          <a:off x="0" y="0"/>
          <a:ext cx="0" cy="0"/>
          <a:chOff x="0" y="0"/>
          <a:chExt cx="0" cy="0"/>
        </a:xfrm>
      </p:grpSpPr>
      <p:sp>
        <p:nvSpPr>
          <p:cNvPr id="8" name="Rectangle 7"/>
          <p:cNvSpPr/>
          <p:nvPr userDrawn="1"/>
        </p:nvSpPr>
        <p:spPr>
          <a:xfrm>
            <a:off x="0" y="0"/>
            <a:ext cx="400434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67807" y="6116477"/>
            <a:ext cx="1358520" cy="515207"/>
          </a:xfrm>
          <a:prstGeom prst="rect">
            <a:avLst/>
          </a:prstGeom>
        </p:spPr>
      </p:pic>
      <p:sp>
        <p:nvSpPr>
          <p:cNvPr id="2" name="Title 1"/>
          <p:cNvSpPr>
            <a:spLocks noGrp="1"/>
          </p:cNvSpPr>
          <p:nvPr>
            <p:ph type="title" hasCustomPrompt="1"/>
          </p:nvPr>
        </p:nvSpPr>
        <p:spPr>
          <a:xfrm>
            <a:off x="381293" y="365781"/>
            <a:ext cx="3406414" cy="3063219"/>
          </a:xfrm>
        </p:spPr>
        <p:txBody>
          <a:bodyPr wrap="square" tIns="0" bIns="0" anchor="ctr"/>
          <a:lstStyle>
            <a:lvl1pPr>
              <a:defRPr sz="3921">
                <a:gradFill>
                  <a:gsLst>
                    <a:gs pos="2917">
                      <a:schemeClr val="bg1"/>
                    </a:gs>
                    <a:gs pos="100000">
                      <a:schemeClr val="bg1">
                        <a:alpha val="99000"/>
                      </a:schemeClr>
                    </a:gs>
                  </a:gsLst>
                  <a:lin ang="5400000" scaled="0"/>
                </a:gradFill>
                <a:latin typeface="Segoe UI Semilight" panose="020B0402040204020203" pitchFamily="34" charset="0"/>
                <a:cs typeface="Segoe UI Semilight" panose="020B0402040204020203" pitchFamily="34" charset="0"/>
              </a:defRPr>
            </a:lvl1pPr>
          </a:lstStyle>
          <a:p>
            <a:r>
              <a:rPr lang="en-US"/>
              <a:t>Click to add presentation title</a:t>
            </a:r>
          </a:p>
        </p:txBody>
      </p:sp>
      <p:sp>
        <p:nvSpPr>
          <p:cNvPr id="5" name="Picture Placeholder 4"/>
          <p:cNvSpPr>
            <a:spLocks noGrp="1"/>
          </p:cNvSpPr>
          <p:nvPr>
            <p:ph type="pic" sz="quarter" idx="10"/>
          </p:nvPr>
        </p:nvSpPr>
        <p:spPr>
          <a:xfrm>
            <a:off x="4004343" y="0"/>
            <a:ext cx="8187657" cy="6858000"/>
          </a:xfrm>
          <a:blipFill>
            <a:blip r:embed="rId3"/>
            <a:srcRect/>
            <a:stretch>
              <a:fillRect/>
            </a:stretch>
          </a:blipFill>
        </p:spPr>
        <p:txBody>
          <a:bodyPr anchor="ctr"/>
          <a:lstStyle>
            <a:lvl1pPr algn="ctr">
              <a:defRPr>
                <a:solidFill>
                  <a:schemeClr val="bg1">
                    <a:alpha val="0"/>
                  </a:schemeClr>
                </a:solidFill>
              </a:defRPr>
            </a:lvl1pPr>
          </a:lstStyle>
          <a:p>
            <a:endParaRPr lang="en-US"/>
          </a:p>
        </p:txBody>
      </p:sp>
      <p:sp>
        <p:nvSpPr>
          <p:cNvPr id="16" name="Text Placeholder 15"/>
          <p:cNvSpPr>
            <a:spLocks noGrp="1"/>
          </p:cNvSpPr>
          <p:nvPr>
            <p:ph type="body" sz="quarter" idx="11" hasCustomPrompt="1"/>
          </p:nvPr>
        </p:nvSpPr>
        <p:spPr>
          <a:xfrm>
            <a:off x="381292" y="3429001"/>
            <a:ext cx="3406414" cy="2059267"/>
          </a:xfrm>
        </p:spPr>
        <p:txBody>
          <a:bodyPr tIns="0" bIns="0" anchor="ctr"/>
          <a:lstStyle>
            <a:lvl1pPr>
              <a:defRPr sz="1961">
                <a:gradFill>
                  <a:gsLst>
                    <a:gs pos="2917">
                      <a:schemeClr val="bg1"/>
                    </a:gs>
                    <a:gs pos="100000">
                      <a:schemeClr val="bg1">
                        <a:alpha val="99000"/>
                      </a:schemeClr>
                    </a:gs>
                  </a:gsLst>
                  <a:lin ang="5400000" scaled="0"/>
                </a:gradFill>
              </a:defRPr>
            </a:lvl1pPr>
            <a:lvl2pPr>
              <a:defRPr sz="1765">
                <a:gradFill>
                  <a:gsLst>
                    <a:gs pos="2917">
                      <a:schemeClr val="bg1"/>
                    </a:gs>
                    <a:gs pos="100000">
                      <a:schemeClr val="bg1">
                        <a:alpha val="99000"/>
                      </a:schemeClr>
                    </a:gs>
                  </a:gsLst>
                  <a:lin ang="5400000" scaled="0"/>
                </a:gradFill>
              </a:defRPr>
            </a:lvl2pPr>
            <a:lvl3pPr marL="3112" indent="0">
              <a:buNone/>
              <a:defRPr sz="1961">
                <a:gradFill>
                  <a:gsLst>
                    <a:gs pos="2917">
                      <a:schemeClr val="bg1"/>
                    </a:gs>
                    <a:gs pos="100000">
                      <a:schemeClr val="bg1">
                        <a:alpha val="99000"/>
                      </a:schemeClr>
                    </a:gs>
                  </a:gsLst>
                  <a:lin ang="5400000" scaled="0"/>
                </a:gradFill>
              </a:defRPr>
            </a:lvl3pPr>
            <a:lvl4pPr>
              <a:defRPr sz="1961">
                <a:gradFill>
                  <a:gsLst>
                    <a:gs pos="2917">
                      <a:schemeClr val="bg1"/>
                    </a:gs>
                    <a:gs pos="100000">
                      <a:schemeClr val="bg1">
                        <a:alpha val="99000"/>
                      </a:schemeClr>
                    </a:gs>
                  </a:gsLst>
                  <a:lin ang="5400000" scaled="0"/>
                </a:gradFill>
              </a:defRPr>
            </a:lvl4pPr>
            <a:lvl5pPr>
              <a:defRPr sz="1961">
                <a:gradFill>
                  <a:gsLst>
                    <a:gs pos="2917">
                      <a:schemeClr val="bg1"/>
                    </a:gs>
                    <a:gs pos="100000">
                      <a:schemeClr val="bg1">
                        <a:alpha val="99000"/>
                      </a:schemeClr>
                    </a:gs>
                  </a:gsLst>
                  <a:lin ang="5400000" scaled="0"/>
                </a:gradFill>
              </a:defRPr>
            </a:lvl5pPr>
          </a:lstStyle>
          <a:p>
            <a:pPr lvl="0"/>
            <a:r>
              <a:rPr lang="en-US"/>
              <a:t>Click to add byline</a:t>
            </a:r>
          </a:p>
          <a:p>
            <a:pPr lvl="1"/>
            <a:r>
              <a:rPr lang="en-US"/>
              <a:t>Second level</a:t>
            </a:r>
          </a:p>
        </p:txBody>
      </p:sp>
    </p:spTree>
    <p:extLst>
      <p:ext uri="{BB962C8B-B14F-4D97-AF65-F5344CB8AC3E}">
        <p14:creationId xmlns:p14="http://schemas.microsoft.com/office/powerpoint/2010/main" val="3302522863"/>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al Section Divider Lifestyle">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2" name="Title 1"/>
          <p:cNvSpPr>
            <a:spLocks noGrp="1"/>
          </p:cNvSpPr>
          <p:nvPr>
            <p:ph type="title" hasCustomPrompt="1"/>
          </p:nvPr>
        </p:nvSpPr>
        <p:spPr>
          <a:xfrm>
            <a:off x="381293" y="917254"/>
            <a:ext cx="5378549" cy="5023491"/>
          </a:xfrm>
        </p:spPr>
        <p:txBody>
          <a:bodyPr wrap="square" anchor="ctr"/>
          <a:lstStyle>
            <a:lvl1pPr>
              <a:defRPr sz="5294">
                <a:gradFill>
                  <a:gsLst>
                    <a:gs pos="2917">
                      <a:srgbClr val="0078D7"/>
                    </a:gs>
                    <a:gs pos="100000">
                      <a:srgbClr val="0078D7">
                        <a:alpha val="99000"/>
                      </a:srgbClr>
                    </a:gs>
                  </a:gsLst>
                  <a:lin ang="5400000" scaled="0"/>
                </a:gradFill>
                <a:latin typeface="Segoe UI Semilight" panose="020B0402040204020203" pitchFamily="34" charset="0"/>
                <a:cs typeface="Segoe UI Semilight" panose="020B0402040204020203" pitchFamily="34" charset="0"/>
              </a:defRPr>
            </a:lvl1pPr>
          </a:lstStyle>
          <a:p>
            <a:r>
              <a:rPr lang="en-US"/>
              <a:t>Click to add section divider title</a:t>
            </a:r>
          </a:p>
        </p:txBody>
      </p:sp>
      <p:sp>
        <p:nvSpPr>
          <p:cNvPr id="8" name="Rectangle 6"/>
          <p:cNvSpPr>
            <a:spLocks noChangeArrowheads="1"/>
          </p:cNvSpPr>
          <p:nvPr userDrawn="1"/>
        </p:nvSpPr>
        <p:spPr bwMode="auto">
          <a:xfrm>
            <a:off x="6201830" y="1666092"/>
            <a:ext cx="5607324" cy="3256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 name="Picture Placeholder 3"/>
          <p:cNvSpPr>
            <a:spLocks noGrp="1"/>
          </p:cNvSpPr>
          <p:nvPr>
            <p:ph type="pic" sz="quarter" idx="10"/>
          </p:nvPr>
        </p:nvSpPr>
        <p:spPr>
          <a:xfrm>
            <a:off x="6096001" y="0"/>
            <a:ext cx="6096000" cy="6858000"/>
          </a:xfrm>
          <a:blipFill>
            <a:blip r:embed="rId2"/>
            <a:stretch>
              <a:fillRect/>
            </a:stretch>
          </a:blipFill>
        </p:spPr>
        <p:txBody>
          <a:bodyPr anchor="ctr"/>
          <a:lstStyle>
            <a:lvl1pPr algn="ctr">
              <a:defRPr>
                <a:solidFill>
                  <a:schemeClr val="bg1">
                    <a:alpha val="0"/>
                  </a:schemeClr>
                </a:solidFill>
              </a:defRPr>
            </a:lvl1pPr>
          </a:lstStyle>
          <a:p>
            <a:endParaRPr lang="en-US"/>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43932" y="5993527"/>
            <a:ext cx="1693738" cy="759254"/>
          </a:xfrm>
          <a:prstGeom prst="rect">
            <a:avLst/>
          </a:prstGeom>
        </p:spPr>
      </p:pic>
    </p:spTree>
    <p:extLst>
      <p:ext uri="{BB962C8B-B14F-4D97-AF65-F5344CB8AC3E}">
        <p14:creationId xmlns:p14="http://schemas.microsoft.com/office/powerpoint/2010/main" val="2554588640"/>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al Section Divi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1294" y="917254"/>
            <a:ext cx="5714707" cy="5023491"/>
          </a:xfrm>
        </p:spPr>
        <p:txBody>
          <a:bodyPr wrap="square" anchor="ctr"/>
          <a:lstStyle>
            <a:lvl1pPr>
              <a:defRPr sz="5294">
                <a:gradFill>
                  <a:gsLst>
                    <a:gs pos="4000">
                      <a:srgbClr val="0078D7"/>
                    </a:gs>
                    <a:gs pos="100000">
                      <a:srgbClr val="0078D7">
                        <a:alpha val="99000"/>
                      </a:srgbClr>
                    </a:gs>
                  </a:gsLst>
                  <a:lin ang="5400000" scaled="0"/>
                </a:gradFill>
                <a:latin typeface="Segoe UI Semilight" panose="020B0402040204020203" pitchFamily="34" charset="0"/>
                <a:cs typeface="Segoe UI Semilight" panose="020B0402040204020203" pitchFamily="34" charset="0"/>
              </a:defRPr>
            </a:lvl1pPr>
          </a:lstStyle>
          <a:p>
            <a:r>
              <a:rPr lang="en-US"/>
              <a:t>Click to add section divider title</a:t>
            </a:r>
          </a:p>
        </p:txBody>
      </p:sp>
      <p:sp>
        <p:nvSpPr>
          <p:cNvPr id="8" name="Rectangle 6"/>
          <p:cNvSpPr>
            <a:spLocks noChangeArrowheads="1"/>
          </p:cNvSpPr>
          <p:nvPr userDrawn="1"/>
        </p:nvSpPr>
        <p:spPr bwMode="auto">
          <a:xfrm>
            <a:off x="6201830" y="1666092"/>
            <a:ext cx="5607324" cy="3256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pic>
        <p:nvPicPr>
          <p:cNvPr id="118" name="Picture 1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08004" y="2181610"/>
            <a:ext cx="4351200" cy="2789273"/>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43932" y="5993527"/>
            <a:ext cx="1693738" cy="759254"/>
          </a:xfrm>
          <a:prstGeom prst="rect">
            <a:avLst/>
          </a:prstGeom>
        </p:spPr>
      </p:pic>
    </p:spTree>
    <p:extLst>
      <p:ext uri="{BB962C8B-B14F-4D97-AF65-F5344CB8AC3E}">
        <p14:creationId xmlns:p14="http://schemas.microsoft.com/office/powerpoint/2010/main" val="2566595034"/>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0B41F93-4E72-47D9-8C63-737F49732B22}" type="datetime1">
              <a:rPr lang="en-US" smtClean="0"/>
              <a:t>3/4/2019</a:t>
            </a:fld>
            <a:endParaRPr lang="en-US"/>
          </a:p>
        </p:txBody>
      </p:sp>
      <p:sp>
        <p:nvSpPr>
          <p:cNvPr id="4" name="Footer Placeholder 3"/>
          <p:cNvSpPr>
            <a:spLocks noGrp="1"/>
          </p:cNvSpPr>
          <p:nvPr>
            <p:ph type="ftr" sz="quarter" idx="11"/>
          </p:nvPr>
        </p:nvSpPr>
        <p:spPr/>
        <p:txBody>
          <a:bodyPr/>
          <a:lstStyle/>
          <a:p>
            <a:r>
              <a:rPr lang="en-US"/>
              <a:t>MICROSOFT CONFIDENTIAL Pre-release simulated screenshot shown, final experience may differ</a:t>
            </a:r>
          </a:p>
        </p:txBody>
      </p:sp>
      <p:sp>
        <p:nvSpPr>
          <p:cNvPr id="5" name="Slide Number Placeholder 4"/>
          <p:cNvSpPr>
            <a:spLocks noGrp="1"/>
          </p:cNvSpPr>
          <p:nvPr>
            <p:ph type="sldNum" sz="quarter" idx="12"/>
          </p:nvPr>
        </p:nvSpPr>
        <p:spPr/>
        <p:txBody>
          <a:bodyPr/>
          <a:lstStyle/>
          <a:p>
            <a:fld id="{9373C030-8119-439B-A7A2-330B51F4C009}" type="slidenum">
              <a:rPr lang="en-US" smtClean="0"/>
              <a:pPr/>
              <a:t>‹#›</a:t>
            </a:fld>
            <a:endParaRPr lang="en-US"/>
          </a:p>
        </p:txBody>
      </p:sp>
      <p:sp>
        <p:nvSpPr>
          <p:cNvPr id="7" name="Media Placeholder 6"/>
          <p:cNvSpPr>
            <a:spLocks noGrp="1"/>
          </p:cNvSpPr>
          <p:nvPr>
            <p:ph type="media" sz="quarter" idx="13"/>
          </p:nvPr>
        </p:nvSpPr>
        <p:spPr>
          <a:xfrm>
            <a:off x="0" y="0"/>
            <a:ext cx="12192000" cy="6858000"/>
          </a:xfrm>
          <a:solidFill>
            <a:schemeClr val="tx1">
              <a:lumMod val="50000"/>
            </a:schemeClr>
          </a:solidFill>
        </p:spPr>
        <p:txBody>
          <a:bodyPr tIns="1280160" anchor="ctr"/>
          <a:lstStyle>
            <a:lvl1pPr algn="ctr">
              <a:defRPr/>
            </a:lvl1pPr>
          </a:lstStyle>
          <a:p>
            <a:endParaRPr lang="en-US"/>
          </a:p>
        </p:txBody>
      </p:sp>
    </p:spTree>
    <p:extLst>
      <p:ext uri="{BB962C8B-B14F-4D97-AF65-F5344CB8AC3E}">
        <p14:creationId xmlns:p14="http://schemas.microsoft.com/office/powerpoint/2010/main" val="3342838630"/>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0" y="0"/>
            <a:ext cx="12192000" cy="6858000"/>
          </a:xfrm>
          <a:solidFill>
            <a:schemeClr val="tx1">
              <a:lumMod val="50000"/>
            </a:schemeClr>
          </a:solidFill>
        </p:spPr>
        <p:txBody>
          <a:bodyPr vert="horz" wrap="square" lIns="0" tIns="1280160" rIns="0" bIns="45720" rtlCol="0" anchor="ctr">
            <a:noAutofit/>
          </a:bodyPr>
          <a:lstStyle>
            <a:lvl1pPr>
              <a:defRPr lang="en-US"/>
            </a:lvl1pPr>
          </a:lstStyle>
          <a:p>
            <a:pPr lvl="0" algn="ctr"/>
            <a:endParaRPr lang="en-US"/>
          </a:p>
        </p:txBody>
      </p:sp>
    </p:spTree>
    <p:extLst>
      <p:ext uri="{BB962C8B-B14F-4D97-AF65-F5344CB8AC3E}">
        <p14:creationId xmlns:p14="http://schemas.microsoft.com/office/powerpoint/2010/main" val="567849977"/>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19A5810-2B15-4D05-9D53-08E964C1D04D}" type="datetime1">
              <a:rPr lang="en-US" smtClean="0"/>
              <a:t>3/4/2019</a:t>
            </a:fld>
            <a:endParaRPr lang="en-US"/>
          </a:p>
        </p:txBody>
      </p:sp>
      <p:sp>
        <p:nvSpPr>
          <p:cNvPr id="4" name="Footer Placeholder 3"/>
          <p:cNvSpPr>
            <a:spLocks noGrp="1"/>
          </p:cNvSpPr>
          <p:nvPr>
            <p:ph type="ftr" sz="quarter" idx="11"/>
          </p:nvPr>
        </p:nvSpPr>
        <p:spPr/>
        <p:txBody>
          <a:bodyPr/>
          <a:lstStyle/>
          <a:p>
            <a:r>
              <a:rPr lang="en-US"/>
              <a:t>MICROSOFT CONFIDENTIAL Pre-release simulated screenshot shown, final experience may differ</a:t>
            </a:r>
          </a:p>
        </p:txBody>
      </p:sp>
      <p:sp>
        <p:nvSpPr>
          <p:cNvPr id="5" name="Slide Number Placeholder 4"/>
          <p:cNvSpPr>
            <a:spLocks noGrp="1"/>
          </p:cNvSpPr>
          <p:nvPr>
            <p:ph type="sldNum" sz="quarter" idx="12"/>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2503575154"/>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2"/>
          <p:cNvSpPr>
            <a:spLocks noGrp="1"/>
          </p:cNvSpPr>
          <p:nvPr>
            <p:ph type="body" sz="quarter" idx="14"/>
          </p:nvPr>
        </p:nvSpPr>
        <p:spPr>
          <a:xfrm>
            <a:off x="381294" y="838963"/>
            <a:ext cx="3007457" cy="452654"/>
          </a:xfrm>
        </p:spPr>
        <p:txBody>
          <a:bodyPr wrap="none">
            <a:spAutoFit/>
          </a:bodyPr>
          <a:lstStyle>
            <a:lvl1pPr>
              <a:defRPr lang="en-US" sz="2353" kern="1200" baseline="0" dirty="0">
                <a:gradFill>
                  <a:gsLst>
                    <a:gs pos="2917">
                      <a:schemeClr val="tx1">
                        <a:lumMod val="75000"/>
                      </a:schemeClr>
                    </a:gs>
                    <a:gs pos="100000">
                      <a:schemeClr val="tx1">
                        <a:lumMod val="75000"/>
                      </a:schemeClr>
                    </a:gs>
                  </a:gsLst>
                  <a:lin ang="5400000" scaled="0"/>
                </a:gradFill>
                <a:latin typeface="Segoe UI Semibold" panose="020B0702040204020203" pitchFamily="34" charset="0"/>
                <a:ea typeface="+mn-ea"/>
                <a:cs typeface="Segoe UI Semibold" panose="020B0702040204020203" pitchFamily="34" charset="0"/>
              </a:defRPr>
            </a:lvl1pPr>
          </a:lstStyle>
          <a:p>
            <a:pPr lvl="0"/>
            <a:r>
              <a:rPr lang="en-US"/>
              <a:t>Edit Master text styles</a:t>
            </a:r>
          </a:p>
        </p:txBody>
      </p:sp>
      <p:sp>
        <p:nvSpPr>
          <p:cNvPr id="7" name="Date Placeholder 6"/>
          <p:cNvSpPr>
            <a:spLocks noGrp="1"/>
          </p:cNvSpPr>
          <p:nvPr>
            <p:ph type="dt" sz="half" idx="15"/>
          </p:nvPr>
        </p:nvSpPr>
        <p:spPr/>
        <p:txBody>
          <a:bodyPr/>
          <a:lstStyle/>
          <a:p>
            <a:fld id="{85FD39CC-F725-4780-862A-802C6E928CE5}" type="datetime1">
              <a:rPr lang="en-US" smtClean="0"/>
              <a:t>3/4/2019</a:t>
            </a:fld>
            <a:endParaRPr lang="en-US"/>
          </a:p>
        </p:txBody>
      </p:sp>
      <p:sp>
        <p:nvSpPr>
          <p:cNvPr id="8" name="Footer Placeholder 7"/>
          <p:cNvSpPr>
            <a:spLocks noGrp="1"/>
          </p:cNvSpPr>
          <p:nvPr>
            <p:ph type="ftr" sz="quarter" idx="16"/>
          </p:nvPr>
        </p:nvSpPr>
        <p:spPr/>
        <p:txBody>
          <a:bodyPr/>
          <a:lstStyle/>
          <a:p>
            <a:r>
              <a:rPr lang="en-US"/>
              <a:t>MICROSOFT CONFIDENTIAL Pre-release simulated screenshot shown, final experience may differ</a:t>
            </a:r>
          </a:p>
        </p:txBody>
      </p:sp>
      <p:sp>
        <p:nvSpPr>
          <p:cNvPr id="9" name="Slide Number Placeholder 8"/>
          <p:cNvSpPr>
            <a:spLocks noGrp="1"/>
          </p:cNvSpPr>
          <p:nvPr>
            <p:ph type="sldNum" sz="quarter" idx="17"/>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2769873566"/>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indows Devices Portfolio">
    <p:spTree>
      <p:nvGrpSpPr>
        <p:cNvPr id="1" name=""/>
        <p:cNvGrpSpPr/>
        <p:nvPr/>
      </p:nvGrpSpPr>
      <p:grpSpPr>
        <a:xfrm>
          <a:off x="0" y="0"/>
          <a:ext cx="0" cy="0"/>
          <a:chOff x="0" y="0"/>
          <a:chExt cx="0" cy="0"/>
        </a:xfrm>
      </p:grpSpPr>
      <p:sp>
        <p:nvSpPr>
          <p:cNvPr id="67" name="Rectangle 66"/>
          <p:cNvSpPr/>
          <p:nvPr userDrawn="1"/>
        </p:nvSpPr>
        <p:spPr>
          <a:xfrm>
            <a:off x="667024" y="1565656"/>
            <a:ext cx="3414521" cy="49265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66" name="Rectangle 65"/>
          <p:cNvSpPr/>
          <p:nvPr userDrawn="1"/>
        </p:nvSpPr>
        <p:spPr>
          <a:xfrm>
            <a:off x="10272124" y="1565656"/>
            <a:ext cx="1535631" cy="49265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7" name="Date Placeholder 6"/>
          <p:cNvSpPr>
            <a:spLocks noGrp="1"/>
          </p:cNvSpPr>
          <p:nvPr>
            <p:ph type="dt" sz="half" idx="15"/>
          </p:nvPr>
        </p:nvSpPr>
        <p:spPr/>
        <p:txBody>
          <a:bodyPr/>
          <a:lstStyle/>
          <a:p>
            <a:fld id="{85FD39CC-F725-4780-862A-802C6E928CE5}" type="datetime1">
              <a:rPr lang="en-US" smtClean="0"/>
              <a:t>3/4/2019</a:t>
            </a:fld>
            <a:endParaRPr lang="en-US"/>
          </a:p>
        </p:txBody>
      </p:sp>
      <p:sp>
        <p:nvSpPr>
          <p:cNvPr id="8" name="Footer Placeholder 7"/>
          <p:cNvSpPr>
            <a:spLocks noGrp="1"/>
          </p:cNvSpPr>
          <p:nvPr>
            <p:ph type="ftr" sz="quarter" idx="16"/>
          </p:nvPr>
        </p:nvSpPr>
        <p:spPr/>
        <p:txBody>
          <a:bodyPr/>
          <a:lstStyle/>
          <a:p>
            <a:r>
              <a:rPr lang="en-US"/>
              <a:t>MICROSOFT CONFIDENTIAL</a:t>
            </a:r>
          </a:p>
        </p:txBody>
      </p:sp>
      <p:sp>
        <p:nvSpPr>
          <p:cNvPr id="9" name="Slide Number Placeholder 8"/>
          <p:cNvSpPr>
            <a:spLocks noGrp="1"/>
          </p:cNvSpPr>
          <p:nvPr>
            <p:ph type="sldNum" sz="quarter" idx="17"/>
          </p:nvPr>
        </p:nvSpPr>
        <p:spPr/>
        <p:txBody>
          <a:bodyPr/>
          <a:lstStyle/>
          <a:p>
            <a:fld id="{9373C030-8119-439B-A7A2-330B51F4C009}" type="slidenum">
              <a:rPr lang="en-US" smtClean="0"/>
              <a:pPr/>
              <a:t>‹#›</a:t>
            </a:fld>
            <a:endParaRPr lang="en-US"/>
          </a:p>
        </p:txBody>
      </p:sp>
      <p:grpSp>
        <p:nvGrpSpPr>
          <p:cNvPr id="4" name="Group 3"/>
          <p:cNvGrpSpPr/>
          <p:nvPr userDrawn="1"/>
        </p:nvGrpSpPr>
        <p:grpSpPr>
          <a:xfrm rot="16200000">
            <a:off x="-1938963" y="3885914"/>
            <a:ext cx="4926562" cy="286049"/>
            <a:chOff x="1049397" y="2694305"/>
            <a:chExt cx="3367711" cy="369332"/>
          </a:xfrm>
        </p:grpSpPr>
        <p:sp>
          <p:nvSpPr>
            <p:cNvPr id="3" name="TextBox 2"/>
            <p:cNvSpPr txBox="1"/>
            <p:nvPr userDrawn="1"/>
          </p:nvSpPr>
          <p:spPr>
            <a:xfrm>
              <a:off x="1049397" y="2694305"/>
              <a:ext cx="1097280" cy="369332"/>
            </a:xfrm>
            <a:prstGeom prst="rect">
              <a:avLst/>
            </a:prstGeom>
            <a:solidFill>
              <a:srgbClr val="00B294"/>
            </a:solidFill>
          </p:spPr>
          <p:txBody>
            <a:bodyPr wrap="none" rtlCol="0" anchor="ctr">
              <a:noAutofit/>
            </a:bodyPr>
            <a:lstStyle/>
            <a:p>
              <a:pPr algn="ctr"/>
              <a:r>
                <a:rPr lang="en-US" sz="1372">
                  <a:solidFill>
                    <a:schemeClr val="bg1"/>
                  </a:solidFill>
                  <a:latin typeface="Segoe UI Semibold" panose="020B0702040204020203" pitchFamily="34" charset="0"/>
                  <a:cs typeface="Segoe UI Semibold" panose="020B0702040204020203" pitchFamily="34" charset="0"/>
                </a:rPr>
                <a:t>Good</a:t>
              </a:r>
            </a:p>
          </p:txBody>
        </p:sp>
        <p:sp>
          <p:nvSpPr>
            <p:cNvPr id="11" name="TextBox 10"/>
            <p:cNvSpPr txBox="1"/>
            <p:nvPr userDrawn="1"/>
          </p:nvSpPr>
          <p:spPr>
            <a:xfrm>
              <a:off x="2184613" y="2694305"/>
              <a:ext cx="1097280" cy="369332"/>
            </a:xfrm>
            <a:prstGeom prst="rect">
              <a:avLst/>
            </a:prstGeom>
            <a:solidFill>
              <a:srgbClr val="0E7F72"/>
            </a:solidFill>
          </p:spPr>
          <p:txBody>
            <a:bodyPr wrap="none" rtlCol="0" anchor="ctr">
              <a:noAutofit/>
            </a:bodyPr>
            <a:lstStyle/>
            <a:p>
              <a:pPr algn="ctr"/>
              <a:r>
                <a:rPr lang="en-US" sz="1372">
                  <a:solidFill>
                    <a:schemeClr val="bg1"/>
                  </a:solidFill>
                  <a:latin typeface="Segoe UI Semibold" panose="020B0702040204020203" pitchFamily="34" charset="0"/>
                  <a:cs typeface="Segoe UI Semibold" panose="020B0702040204020203" pitchFamily="34" charset="0"/>
                </a:rPr>
                <a:t>Better</a:t>
              </a:r>
            </a:p>
          </p:txBody>
        </p:sp>
        <p:sp>
          <p:nvSpPr>
            <p:cNvPr id="12" name="TextBox 11"/>
            <p:cNvSpPr txBox="1"/>
            <p:nvPr userDrawn="1"/>
          </p:nvSpPr>
          <p:spPr>
            <a:xfrm>
              <a:off x="3319828" y="2694305"/>
              <a:ext cx="1097280" cy="369332"/>
            </a:xfrm>
            <a:prstGeom prst="rect">
              <a:avLst/>
            </a:prstGeom>
            <a:solidFill>
              <a:srgbClr val="004B50"/>
            </a:solidFill>
          </p:spPr>
          <p:txBody>
            <a:bodyPr wrap="none" rtlCol="0" anchor="ctr">
              <a:noAutofit/>
            </a:bodyPr>
            <a:lstStyle/>
            <a:p>
              <a:pPr algn="ctr"/>
              <a:r>
                <a:rPr lang="en-US" sz="1372">
                  <a:solidFill>
                    <a:schemeClr val="bg1"/>
                  </a:solidFill>
                  <a:latin typeface="Segoe UI Semibold" panose="020B0702040204020203" pitchFamily="34" charset="0"/>
                  <a:cs typeface="Segoe UI Semibold" panose="020B0702040204020203" pitchFamily="34" charset="0"/>
                </a:rPr>
                <a:t>Best</a:t>
              </a:r>
            </a:p>
          </p:txBody>
        </p:sp>
      </p:grpSp>
      <p:sp>
        <p:nvSpPr>
          <p:cNvPr id="15" name="Content Placeholder 14"/>
          <p:cNvSpPr>
            <a:spLocks noGrp="1"/>
          </p:cNvSpPr>
          <p:nvPr>
            <p:ph sz="quarter" idx="18" hasCustomPrompt="1"/>
          </p:nvPr>
        </p:nvSpPr>
        <p:spPr>
          <a:xfrm>
            <a:off x="4156247" y="1660438"/>
            <a:ext cx="1434280" cy="849186"/>
          </a:xfrm>
        </p:spPr>
        <p:txBody>
          <a:bodyPr anchor="ctr"/>
          <a:lstStyle>
            <a:lvl1pPr algn="ctr">
              <a:defRPr sz="1176">
                <a:solidFill>
                  <a:srgbClr val="FF0000"/>
                </a:solidFill>
              </a:defRPr>
            </a:lvl1pPr>
          </a:lstStyle>
          <a:p>
            <a:pPr lvl="0"/>
            <a:r>
              <a:rPr lang="en-US"/>
              <a:t>Paste device image here</a:t>
            </a:r>
          </a:p>
        </p:txBody>
      </p:sp>
      <p:sp>
        <p:nvSpPr>
          <p:cNvPr id="20" name="Text Placeholder 19"/>
          <p:cNvSpPr>
            <a:spLocks noGrp="1"/>
          </p:cNvSpPr>
          <p:nvPr>
            <p:ph type="body" sz="quarter" idx="22" hasCustomPrompt="1"/>
          </p:nvPr>
        </p:nvSpPr>
        <p:spPr>
          <a:xfrm>
            <a:off x="4156247" y="2582882"/>
            <a:ext cx="1434280" cy="576109"/>
          </a:xfrm>
        </p:spPr>
        <p:txBody>
          <a:bodyPr/>
          <a:lstStyle>
            <a:lvl1pPr algn="ctr">
              <a:spcBef>
                <a:spcPts val="0"/>
              </a:spcBef>
              <a:spcAft>
                <a:spcPts val="0"/>
              </a:spcAft>
              <a:defRPr sz="882"/>
            </a:lvl1pPr>
            <a:lvl2pPr algn="ctr">
              <a:spcBef>
                <a:spcPts val="0"/>
              </a:spcBef>
              <a:spcAft>
                <a:spcPts val="0"/>
              </a:spcAft>
              <a:defRPr sz="882"/>
            </a:lvl2pPr>
            <a:lvl3pPr algn="ctr">
              <a:spcBef>
                <a:spcPts val="0"/>
              </a:spcBef>
              <a:spcAft>
                <a:spcPts val="0"/>
              </a:spcAft>
              <a:defRPr sz="1029"/>
            </a:lvl3pPr>
            <a:lvl4pPr algn="ctr">
              <a:spcBef>
                <a:spcPts val="0"/>
              </a:spcBef>
              <a:spcAft>
                <a:spcPts val="0"/>
              </a:spcAft>
              <a:defRPr sz="1029"/>
            </a:lvl4pPr>
            <a:lvl5pPr algn="ctr">
              <a:spcBef>
                <a:spcPts val="0"/>
              </a:spcBef>
              <a:spcAft>
                <a:spcPts val="0"/>
              </a:spcAft>
              <a:defRPr sz="1029"/>
            </a:lvl5pPr>
          </a:lstStyle>
          <a:p>
            <a:pPr lvl="0"/>
            <a:r>
              <a:rPr lang="en-US"/>
              <a:t>Device Name</a:t>
            </a:r>
          </a:p>
          <a:p>
            <a:pPr lvl="1"/>
            <a:r>
              <a:rPr lang="en-US"/>
              <a:t>Second level</a:t>
            </a:r>
          </a:p>
        </p:txBody>
      </p:sp>
      <p:sp>
        <p:nvSpPr>
          <p:cNvPr id="21" name="Content Placeholder 14"/>
          <p:cNvSpPr>
            <a:spLocks noGrp="1"/>
          </p:cNvSpPr>
          <p:nvPr>
            <p:ph sz="quarter" idx="23" hasCustomPrompt="1"/>
          </p:nvPr>
        </p:nvSpPr>
        <p:spPr>
          <a:xfrm>
            <a:off x="5691879" y="1660438"/>
            <a:ext cx="1434280" cy="849186"/>
          </a:xfrm>
        </p:spPr>
        <p:txBody>
          <a:bodyPr anchor="ctr"/>
          <a:lstStyle>
            <a:lvl1pPr algn="ctr">
              <a:defRPr sz="1176">
                <a:solidFill>
                  <a:srgbClr val="FF0000"/>
                </a:solidFill>
              </a:defRPr>
            </a:lvl1pPr>
          </a:lstStyle>
          <a:p>
            <a:pPr lvl="0"/>
            <a:r>
              <a:rPr lang="en-US"/>
              <a:t>Paste device image here</a:t>
            </a:r>
          </a:p>
        </p:txBody>
      </p:sp>
      <p:sp>
        <p:nvSpPr>
          <p:cNvPr id="22" name="Text Placeholder 19"/>
          <p:cNvSpPr>
            <a:spLocks noGrp="1"/>
          </p:cNvSpPr>
          <p:nvPr>
            <p:ph type="body" sz="quarter" idx="24" hasCustomPrompt="1"/>
          </p:nvPr>
        </p:nvSpPr>
        <p:spPr>
          <a:xfrm>
            <a:off x="5691879" y="2582882"/>
            <a:ext cx="1434280" cy="576109"/>
          </a:xfrm>
        </p:spPr>
        <p:txBody>
          <a:bodyPr/>
          <a:lstStyle>
            <a:lvl1pPr algn="ctr">
              <a:spcBef>
                <a:spcPts val="0"/>
              </a:spcBef>
              <a:spcAft>
                <a:spcPts val="0"/>
              </a:spcAft>
              <a:defRPr sz="882"/>
            </a:lvl1pPr>
            <a:lvl2pPr algn="ctr">
              <a:spcBef>
                <a:spcPts val="0"/>
              </a:spcBef>
              <a:spcAft>
                <a:spcPts val="0"/>
              </a:spcAft>
              <a:defRPr sz="882"/>
            </a:lvl2pPr>
            <a:lvl3pPr algn="ctr">
              <a:spcBef>
                <a:spcPts val="0"/>
              </a:spcBef>
              <a:spcAft>
                <a:spcPts val="0"/>
              </a:spcAft>
              <a:defRPr sz="1029"/>
            </a:lvl3pPr>
            <a:lvl4pPr algn="ctr">
              <a:spcBef>
                <a:spcPts val="0"/>
              </a:spcBef>
              <a:spcAft>
                <a:spcPts val="0"/>
              </a:spcAft>
              <a:defRPr sz="1029"/>
            </a:lvl4pPr>
            <a:lvl5pPr algn="ctr">
              <a:spcBef>
                <a:spcPts val="0"/>
              </a:spcBef>
              <a:spcAft>
                <a:spcPts val="0"/>
              </a:spcAft>
              <a:defRPr sz="1029"/>
            </a:lvl5pPr>
          </a:lstStyle>
          <a:p>
            <a:pPr lvl="0"/>
            <a:r>
              <a:rPr lang="en-US"/>
              <a:t>Device Name</a:t>
            </a:r>
          </a:p>
          <a:p>
            <a:pPr lvl="1"/>
            <a:r>
              <a:rPr lang="en-US"/>
              <a:t>Second level</a:t>
            </a:r>
          </a:p>
        </p:txBody>
      </p:sp>
      <p:sp>
        <p:nvSpPr>
          <p:cNvPr id="25" name="Content Placeholder 14"/>
          <p:cNvSpPr>
            <a:spLocks noGrp="1"/>
          </p:cNvSpPr>
          <p:nvPr>
            <p:ph sz="quarter" idx="25" hasCustomPrompt="1"/>
          </p:nvPr>
        </p:nvSpPr>
        <p:spPr>
          <a:xfrm>
            <a:off x="7227510" y="1660438"/>
            <a:ext cx="1434280" cy="849186"/>
          </a:xfrm>
        </p:spPr>
        <p:txBody>
          <a:bodyPr anchor="ctr"/>
          <a:lstStyle>
            <a:lvl1pPr algn="ctr">
              <a:defRPr sz="1176">
                <a:solidFill>
                  <a:srgbClr val="FF0000"/>
                </a:solidFill>
              </a:defRPr>
            </a:lvl1pPr>
          </a:lstStyle>
          <a:p>
            <a:pPr lvl="0"/>
            <a:r>
              <a:rPr lang="en-US"/>
              <a:t>Paste device image here</a:t>
            </a:r>
          </a:p>
        </p:txBody>
      </p:sp>
      <p:sp>
        <p:nvSpPr>
          <p:cNvPr id="26" name="Text Placeholder 19"/>
          <p:cNvSpPr>
            <a:spLocks noGrp="1"/>
          </p:cNvSpPr>
          <p:nvPr>
            <p:ph type="body" sz="quarter" idx="26" hasCustomPrompt="1"/>
          </p:nvPr>
        </p:nvSpPr>
        <p:spPr>
          <a:xfrm>
            <a:off x="7227510" y="2582882"/>
            <a:ext cx="1434280" cy="576109"/>
          </a:xfrm>
        </p:spPr>
        <p:txBody>
          <a:bodyPr/>
          <a:lstStyle>
            <a:lvl1pPr algn="ctr">
              <a:spcBef>
                <a:spcPts val="0"/>
              </a:spcBef>
              <a:spcAft>
                <a:spcPts val="0"/>
              </a:spcAft>
              <a:defRPr sz="882"/>
            </a:lvl1pPr>
            <a:lvl2pPr algn="ctr">
              <a:spcBef>
                <a:spcPts val="0"/>
              </a:spcBef>
              <a:spcAft>
                <a:spcPts val="0"/>
              </a:spcAft>
              <a:defRPr sz="882"/>
            </a:lvl2pPr>
            <a:lvl3pPr algn="ctr">
              <a:spcBef>
                <a:spcPts val="0"/>
              </a:spcBef>
              <a:spcAft>
                <a:spcPts val="0"/>
              </a:spcAft>
              <a:defRPr sz="1029"/>
            </a:lvl3pPr>
            <a:lvl4pPr algn="ctr">
              <a:spcBef>
                <a:spcPts val="0"/>
              </a:spcBef>
              <a:spcAft>
                <a:spcPts val="0"/>
              </a:spcAft>
              <a:defRPr sz="1029"/>
            </a:lvl4pPr>
            <a:lvl5pPr algn="ctr">
              <a:spcBef>
                <a:spcPts val="0"/>
              </a:spcBef>
              <a:spcAft>
                <a:spcPts val="0"/>
              </a:spcAft>
              <a:defRPr sz="1029"/>
            </a:lvl5pPr>
          </a:lstStyle>
          <a:p>
            <a:pPr lvl="0"/>
            <a:r>
              <a:rPr lang="en-US"/>
              <a:t>Device Name</a:t>
            </a:r>
          </a:p>
          <a:p>
            <a:pPr lvl="1"/>
            <a:r>
              <a:rPr lang="en-US"/>
              <a:t>Second level</a:t>
            </a:r>
          </a:p>
        </p:txBody>
      </p:sp>
      <p:sp>
        <p:nvSpPr>
          <p:cNvPr id="27" name="Content Placeholder 14"/>
          <p:cNvSpPr>
            <a:spLocks noGrp="1"/>
          </p:cNvSpPr>
          <p:nvPr>
            <p:ph sz="quarter" idx="27" hasCustomPrompt="1"/>
          </p:nvPr>
        </p:nvSpPr>
        <p:spPr>
          <a:xfrm>
            <a:off x="8763142" y="1660438"/>
            <a:ext cx="1434280" cy="849186"/>
          </a:xfrm>
        </p:spPr>
        <p:txBody>
          <a:bodyPr anchor="ctr"/>
          <a:lstStyle>
            <a:lvl1pPr algn="ctr">
              <a:defRPr sz="1176">
                <a:solidFill>
                  <a:srgbClr val="FF0000"/>
                </a:solidFill>
              </a:defRPr>
            </a:lvl1pPr>
          </a:lstStyle>
          <a:p>
            <a:pPr lvl="0"/>
            <a:r>
              <a:rPr lang="en-US"/>
              <a:t>Paste device image here</a:t>
            </a:r>
          </a:p>
        </p:txBody>
      </p:sp>
      <p:sp>
        <p:nvSpPr>
          <p:cNvPr id="28" name="Text Placeholder 19"/>
          <p:cNvSpPr>
            <a:spLocks noGrp="1"/>
          </p:cNvSpPr>
          <p:nvPr>
            <p:ph type="body" sz="quarter" idx="28" hasCustomPrompt="1"/>
          </p:nvPr>
        </p:nvSpPr>
        <p:spPr>
          <a:xfrm>
            <a:off x="8763142" y="2582882"/>
            <a:ext cx="1434280" cy="576109"/>
          </a:xfrm>
        </p:spPr>
        <p:txBody>
          <a:bodyPr/>
          <a:lstStyle>
            <a:lvl1pPr algn="ctr">
              <a:spcBef>
                <a:spcPts val="0"/>
              </a:spcBef>
              <a:spcAft>
                <a:spcPts val="0"/>
              </a:spcAft>
              <a:defRPr sz="882"/>
            </a:lvl1pPr>
            <a:lvl2pPr algn="ctr">
              <a:spcBef>
                <a:spcPts val="0"/>
              </a:spcBef>
              <a:spcAft>
                <a:spcPts val="0"/>
              </a:spcAft>
              <a:defRPr sz="882"/>
            </a:lvl2pPr>
            <a:lvl3pPr algn="ctr">
              <a:spcBef>
                <a:spcPts val="0"/>
              </a:spcBef>
              <a:spcAft>
                <a:spcPts val="0"/>
              </a:spcAft>
              <a:defRPr sz="1029"/>
            </a:lvl3pPr>
            <a:lvl4pPr algn="ctr">
              <a:spcBef>
                <a:spcPts val="0"/>
              </a:spcBef>
              <a:spcAft>
                <a:spcPts val="0"/>
              </a:spcAft>
              <a:defRPr sz="1029"/>
            </a:lvl4pPr>
            <a:lvl5pPr algn="ctr">
              <a:spcBef>
                <a:spcPts val="0"/>
              </a:spcBef>
              <a:spcAft>
                <a:spcPts val="0"/>
              </a:spcAft>
              <a:defRPr sz="1029"/>
            </a:lvl5pPr>
          </a:lstStyle>
          <a:p>
            <a:pPr lvl="0"/>
            <a:r>
              <a:rPr lang="en-US"/>
              <a:t>Device Name</a:t>
            </a:r>
          </a:p>
          <a:p>
            <a:pPr lvl="1"/>
            <a:r>
              <a:rPr lang="en-US"/>
              <a:t>Second level</a:t>
            </a:r>
          </a:p>
        </p:txBody>
      </p:sp>
      <p:sp>
        <p:nvSpPr>
          <p:cNvPr id="31" name="Text Placeholder 19"/>
          <p:cNvSpPr>
            <a:spLocks noGrp="1"/>
          </p:cNvSpPr>
          <p:nvPr>
            <p:ph type="body" sz="quarter" idx="29" hasCustomPrompt="1"/>
          </p:nvPr>
        </p:nvSpPr>
        <p:spPr>
          <a:xfrm>
            <a:off x="10373475" y="1660439"/>
            <a:ext cx="1434280" cy="1498552"/>
          </a:xfrm>
        </p:spPr>
        <p:txBody>
          <a:bodyPr/>
          <a:lstStyle>
            <a:lvl1pPr algn="l">
              <a:spcBef>
                <a:spcPts val="0"/>
              </a:spcBef>
              <a:spcAft>
                <a:spcPts val="294"/>
              </a:spcAft>
              <a:defRPr sz="882"/>
            </a:lvl1pPr>
            <a:lvl2pPr algn="l">
              <a:spcBef>
                <a:spcPts val="0"/>
              </a:spcBef>
              <a:spcAft>
                <a:spcPts val="294"/>
              </a:spcAft>
              <a:defRPr sz="882"/>
            </a:lvl2pPr>
            <a:lvl3pPr algn="ctr">
              <a:spcBef>
                <a:spcPts val="0"/>
              </a:spcBef>
              <a:spcAft>
                <a:spcPts val="0"/>
              </a:spcAft>
              <a:defRPr sz="1029"/>
            </a:lvl3pPr>
            <a:lvl4pPr algn="ctr">
              <a:spcBef>
                <a:spcPts val="0"/>
              </a:spcBef>
              <a:spcAft>
                <a:spcPts val="0"/>
              </a:spcAft>
              <a:defRPr sz="1029"/>
            </a:lvl4pPr>
            <a:lvl5pPr algn="ctr">
              <a:spcBef>
                <a:spcPts val="0"/>
              </a:spcBef>
              <a:spcAft>
                <a:spcPts val="0"/>
              </a:spcAft>
              <a:defRPr sz="1029"/>
            </a:lvl5pPr>
          </a:lstStyle>
          <a:p>
            <a:pPr lvl="0"/>
            <a:r>
              <a:rPr lang="en-US"/>
              <a:t>Price</a:t>
            </a:r>
          </a:p>
          <a:p>
            <a:pPr lvl="1"/>
            <a:r>
              <a:rPr lang="en-US"/>
              <a:t>Specifications</a:t>
            </a:r>
          </a:p>
        </p:txBody>
      </p:sp>
      <p:sp>
        <p:nvSpPr>
          <p:cNvPr id="33" name="Content Placeholder 14"/>
          <p:cNvSpPr>
            <a:spLocks noGrp="1"/>
          </p:cNvSpPr>
          <p:nvPr>
            <p:ph sz="quarter" idx="30" hasCustomPrompt="1"/>
          </p:nvPr>
        </p:nvSpPr>
        <p:spPr>
          <a:xfrm>
            <a:off x="4156247" y="3312105"/>
            <a:ext cx="1434280" cy="849186"/>
          </a:xfrm>
        </p:spPr>
        <p:txBody>
          <a:bodyPr anchor="ctr"/>
          <a:lstStyle>
            <a:lvl1pPr algn="ctr">
              <a:defRPr sz="1176">
                <a:solidFill>
                  <a:srgbClr val="FF0000"/>
                </a:solidFill>
              </a:defRPr>
            </a:lvl1pPr>
          </a:lstStyle>
          <a:p>
            <a:pPr lvl="0"/>
            <a:r>
              <a:rPr lang="en-US"/>
              <a:t>Paste device image here</a:t>
            </a:r>
          </a:p>
        </p:txBody>
      </p:sp>
      <p:sp>
        <p:nvSpPr>
          <p:cNvPr id="34" name="Text Placeholder 19"/>
          <p:cNvSpPr>
            <a:spLocks noGrp="1"/>
          </p:cNvSpPr>
          <p:nvPr>
            <p:ph type="body" sz="quarter" idx="31" hasCustomPrompt="1"/>
          </p:nvPr>
        </p:nvSpPr>
        <p:spPr>
          <a:xfrm>
            <a:off x="4156247" y="4234548"/>
            <a:ext cx="1434280" cy="576109"/>
          </a:xfrm>
        </p:spPr>
        <p:txBody>
          <a:bodyPr/>
          <a:lstStyle>
            <a:lvl1pPr algn="ctr">
              <a:spcBef>
                <a:spcPts val="0"/>
              </a:spcBef>
              <a:spcAft>
                <a:spcPts val="0"/>
              </a:spcAft>
              <a:defRPr sz="882"/>
            </a:lvl1pPr>
            <a:lvl2pPr algn="ctr">
              <a:spcBef>
                <a:spcPts val="0"/>
              </a:spcBef>
              <a:spcAft>
                <a:spcPts val="0"/>
              </a:spcAft>
              <a:defRPr sz="882"/>
            </a:lvl2pPr>
            <a:lvl3pPr algn="ctr">
              <a:spcBef>
                <a:spcPts val="0"/>
              </a:spcBef>
              <a:spcAft>
                <a:spcPts val="0"/>
              </a:spcAft>
              <a:defRPr sz="1029"/>
            </a:lvl3pPr>
            <a:lvl4pPr algn="ctr">
              <a:spcBef>
                <a:spcPts val="0"/>
              </a:spcBef>
              <a:spcAft>
                <a:spcPts val="0"/>
              </a:spcAft>
              <a:defRPr sz="1029"/>
            </a:lvl4pPr>
            <a:lvl5pPr algn="ctr">
              <a:spcBef>
                <a:spcPts val="0"/>
              </a:spcBef>
              <a:spcAft>
                <a:spcPts val="0"/>
              </a:spcAft>
              <a:defRPr sz="1029"/>
            </a:lvl5pPr>
          </a:lstStyle>
          <a:p>
            <a:pPr lvl="0"/>
            <a:r>
              <a:rPr lang="en-US"/>
              <a:t>Device Name</a:t>
            </a:r>
          </a:p>
          <a:p>
            <a:pPr lvl="1"/>
            <a:r>
              <a:rPr lang="en-US"/>
              <a:t>Second level</a:t>
            </a:r>
          </a:p>
        </p:txBody>
      </p:sp>
      <p:sp>
        <p:nvSpPr>
          <p:cNvPr id="35" name="Content Placeholder 14"/>
          <p:cNvSpPr>
            <a:spLocks noGrp="1"/>
          </p:cNvSpPr>
          <p:nvPr>
            <p:ph sz="quarter" idx="32" hasCustomPrompt="1"/>
          </p:nvPr>
        </p:nvSpPr>
        <p:spPr>
          <a:xfrm>
            <a:off x="5691879" y="3312105"/>
            <a:ext cx="1434280" cy="849186"/>
          </a:xfrm>
        </p:spPr>
        <p:txBody>
          <a:bodyPr anchor="ctr"/>
          <a:lstStyle>
            <a:lvl1pPr algn="ctr">
              <a:defRPr sz="1176">
                <a:solidFill>
                  <a:srgbClr val="FF0000"/>
                </a:solidFill>
              </a:defRPr>
            </a:lvl1pPr>
          </a:lstStyle>
          <a:p>
            <a:pPr lvl="0"/>
            <a:r>
              <a:rPr lang="en-US"/>
              <a:t>Paste device image here</a:t>
            </a:r>
          </a:p>
        </p:txBody>
      </p:sp>
      <p:sp>
        <p:nvSpPr>
          <p:cNvPr id="36" name="Text Placeholder 19"/>
          <p:cNvSpPr>
            <a:spLocks noGrp="1"/>
          </p:cNvSpPr>
          <p:nvPr>
            <p:ph type="body" sz="quarter" idx="33" hasCustomPrompt="1"/>
          </p:nvPr>
        </p:nvSpPr>
        <p:spPr>
          <a:xfrm>
            <a:off x="5691879" y="4234548"/>
            <a:ext cx="1434280" cy="576109"/>
          </a:xfrm>
        </p:spPr>
        <p:txBody>
          <a:bodyPr/>
          <a:lstStyle>
            <a:lvl1pPr algn="ctr">
              <a:spcBef>
                <a:spcPts val="0"/>
              </a:spcBef>
              <a:spcAft>
                <a:spcPts val="0"/>
              </a:spcAft>
              <a:defRPr sz="882"/>
            </a:lvl1pPr>
            <a:lvl2pPr algn="ctr">
              <a:spcBef>
                <a:spcPts val="0"/>
              </a:spcBef>
              <a:spcAft>
                <a:spcPts val="0"/>
              </a:spcAft>
              <a:defRPr sz="882"/>
            </a:lvl2pPr>
            <a:lvl3pPr algn="ctr">
              <a:spcBef>
                <a:spcPts val="0"/>
              </a:spcBef>
              <a:spcAft>
                <a:spcPts val="0"/>
              </a:spcAft>
              <a:defRPr sz="1029"/>
            </a:lvl3pPr>
            <a:lvl4pPr algn="ctr">
              <a:spcBef>
                <a:spcPts val="0"/>
              </a:spcBef>
              <a:spcAft>
                <a:spcPts val="0"/>
              </a:spcAft>
              <a:defRPr sz="1029"/>
            </a:lvl4pPr>
            <a:lvl5pPr algn="ctr">
              <a:spcBef>
                <a:spcPts val="0"/>
              </a:spcBef>
              <a:spcAft>
                <a:spcPts val="0"/>
              </a:spcAft>
              <a:defRPr sz="1029"/>
            </a:lvl5pPr>
          </a:lstStyle>
          <a:p>
            <a:pPr lvl="0"/>
            <a:r>
              <a:rPr lang="en-US"/>
              <a:t>Device Name</a:t>
            </a:r>
          </a:p>
          <a:p>
            <a:pPr lvl="1"/>
            <a:r>
              <a:rPr lang="en-US"/>
              <a:t>Second level</a:t>
            </a:r>
          </a:p>
        </p:txBody>
      </p:sp>
      <p:sp>
        <p:nvSpPr>
          <p:cNvPr id="37" name="Content Placeholder 14"/>
          <p:cNvSpPr>
            <a:spLocks noGrp="1"/>
          </p:cNvSpPr>
          <p:nvPr>
            <p:ph sz="quarter" idx="34" hasCustomPrompt="1"/>
          </p:nvPr>
        </p:nvSpPr>
        <p:spPr>
          <a:xfrm>
            <a:off x="7227510" y="3312105"/>
            <a:ext cx="1434280" cy="849186"/>
          </a:xfrm>
        </p:spPr>
        <p:txBody>
          <a:bodyPr anchor="ctr"/>
          <a:lstStyle>
            <a:lvl1pPr algn="ctr">
              <a:defRPr sz="1176">
                <a:solidFill>
                  <a:srgbClr val="FF0000"/>
                </a:solidFill>
              </a:defRPr>
            </a:lvl1pPr>
          </a:lstStyle>
          <a:p>
            <a:pPr lvl="0"/>
            <a:r>
              <a:rPr lang="en-US"/>
              <a:t>Paste device image here</a:t>
            </a:r>
          </a:p>
        </p:txBody>
      </p:sp>
      <p:sp>
        <p:nvSpPr>
          <p:cNvPr id="38" name="Text Placeholder 19"/>
          <p:cNvSpPr>
            <a:spLocks noGrp="1"/>
          </p:cNvSpPr>
          <p:nvPr>
            <p:ph type="body" sz="quarter" idx="35" hasCustomPrompt="1"/>
          </p:nvPr>
        </p:nvSpPr>
        <p:spPr>
          <a:xfrm>
            <a:off x="7227510" y="4234548"/>
            <a:ext cx="1434280" cy="576109"/>
          </a:xfrm>
        </p:spPr>
        <p:txBody>
          <a:bodyPr/>
          <a:lstStyle>
            <a:lvl1pPr algn="ctr">
              <a:spcBef>
                <a:spcPts val="0"/>
              </a:spcBef>
              <a:spcAft>
                <a:spcPts val="0"/>
              </a:spcAft>
              <a:defRPr sz="882"/>
            </a:lvl1pPr>
            <a:lvl2pPr algn="ctr">
              <a:spcBef>
                <a:spcPts val="0"/>
              </a:spcBef>
              <a:spcAft>
                <a:spcPts val="0"/>
              </a:spcAft>
              <a:defRPr sz="882"/>
            </a:lvl2pPr>
            <a:lvl3pPr algn="ctr">
              <a:spcBef>
                <a:spcPts val="0"/>
              </a:spcBef>
              <a:spcAft>
                <a:spcPts val="0"/>
              </a:spcAft>
              <a:defRPr sz="1029"/>
            </a:lvl3pPr>
            <a:lvl4pPr algn="ctr">
              <a:spcBef>
                <a:spcPts val="0"/>
              </a:spcBef>
              <a:spcAft>
                <a:spcPts val="0"/>
              </a:spcAft>
              <a:defRPr sz="1029"/>
            </a:lvl4pPr>
            <a:lvl5pPr algn="ctr">
              <a:spcBef>
                <a:spcPts val="0"/>
              </a:spcBef>
              <a:spcAft>
                <a:spcPts val="0"/>
              </a:spcAft>
              <a:defRPr sz="1029"/>
            </a:lvl5pPr>
          </a:lstStyle>
          <a:p>
            <a:pPr lvl="0"/>
            <a:r>
              <a:rPr lang="en-US"/>
              <a:t>Device Name</a:t>
            </a:r>
          </a:p>
          <a:p>
            <a:pPr lvl="1"/>
            <a:r>
              <a:rPr lang="en-US"/>
              <a:t>Second level</a:t>
            </a:r>
          </a:p>
        </p:txBody>
      </p:sp>
      <p:sp>
        <p:nvSpPr>
          <p:cNvPr id="39" name="Content Placeholder 14"/>
          <p:cNvSpPr>
            <a:spLocks noGrp="1"/>
          </p:cNvSpPr>
          <p:nvPr>
            <p:ph sz="quarter" idx="36" hasCustomPrompt="1"/>
          </p:nvPr>
        </p:nvSpPr>
        <p:spPr>
          <a:xfrm>
            <a:off x="8763142" y="3312105"/>
            <a:ext cx="1434280" cy="849186"/>
          </a:xfrm>
        </p:spPr>
        <p:txBody>
          <a:bodyPr anchor="ctr"/>
          <a:lstStyle>
            <a:lvl1pPr algn="ctr">
              <a:defRPr sz="1176">
                <a:solidFill>
                  <a:srgbClr val="FF0000"/>
                </a:solidFill>
              </a:defRPr>
            </a:lvl1pPr>
          </a:lstStyle>
          <a:p>
            <a:pPr lvl="0"/>
            <a:r>
              <a:rPr lang="en-US"/>
              <a:t>Paste device image here</a:t>
            </a:r>
          </a:p>
        </p:txBody>
      </p:sp>
      <p:sp>
        <p:nvSpPr>
          <p:cNvPr id="40" name="Text Placeholder 19"/>
          <p:cNvSpPr>
            <a:spLocks noGrp="1"/>
          </p:cNvSpPr>
          <p:nvPr>
            <p:ph type="body" sz="quarter" idx="37" hasCustomPrompt="1"/>
          </p:nvPr>
        </p:nvSpPr>
        <p:spPr>
          <a:xfrm>
            <a:off x="8763142" y="4234548"/>
            <a:ext cx="1434280" cy="576109"/>
          </a:xfrm>
        </p:spPr>
        <p:txBody>
          <a:bodyPr/>
          <a:lstStyle>
            <a:lvl1pPr algn="ctr">
              <a:spcBef>
                <a:spcPts val="0"/>
              </a:spcBef>
              <a:spcAft>
                <a:spcPts val="0"/>
              </a:spcAft>
              <a:defRPr sz="882"/>
            </a:lvl1pPr>
            <a:lvl2pPr algn="ctr">
              <a:spcBef>
                <a:spcPts val="0"/>
              </a:spcBef>
              <a:spcAft>
                <a:spcPts val="0"/>
              </a:spcAft>
              <a:defRPr sz="882"/>
            </a:lvl2pPr>
            <a:lvl3pPr algn="ctr">
              <a:spcBef>
                <a:spcPts val="0"/>
              </a:spcBef>
              <a:spcAft>
                <a:spcPts val="0"/>
              </a:spcAft>
              <a:defRPr sz="1029"/>
            </a:lvl3pPr>
            <a:lvl4pPr algn="ctr">
              <a:spcBef>
                <a:spcPts val="0"/>
              </a:spcBef>
              <a:spcAft>
                <a:spcPts val="0"/>
              </a:spcAft>
              <a:defRPr sz="1029"/>
            </a:lvl4pPr>
            <a:lvl5pPr algn="ctr">
              <a:spcBef>
                <a:spcPts val="0"/>
              </a:spcBef>
              <a:spcAft>
                <a:spcPts val="0"/>
              </a:spcAft>
              <a:defRPr sz="1029"/>
            </a:lvl5pPr>
          </a:lstStyle>
          <a:p>
            <a:pPr lvl="0"/>
            <a:r>
              <a:rPr lang="en-US"/>
              <a:t>Device Name</a:t>
            </a:r>
          </a:p>
          <a:p>
            <a:pPr lvl="1"/>
            <a:r>
              <a:rPr lang="en-US"/>
              <a:t>Second level</a:t>
            </a:r>
          </a:p>
        </p:txBody>
      </p:sp>
      <p:sp>
        <p:nvSpPr>
          <p:cNvPr id="42" name="Content Placeholder 14"/>
          <p:cNvSpPr>
            <a:spLocks noGrp="1"/>
          </p:cNvSpPr>
          <p:nvPr>
            <p:ph sz="quarter" idx="39" hasCustomPrompt="1"/>
          </p:nvPr>
        </p:nvSpPr>
        <p:spPr>
          <a:xfrm>
            <a:off x="4156247" y="4981766"/>
            <a:ext cx="1434280" cy="849186"/>
          </a:xfrm>
        </p:spPr>
        <p:txBody>
          <a:bodyPr anchor="ctr"/>
          <a:lstStyle>
            <a:lvl1pPr algn="ctr">
              <a:defRPr sz="1176">
                <a:solidFill>
                  <a:srgbClr val="FF0000"/>
                </a:solidFill>
              </a:defRPr>
            </a:lvl1pPr>
          </a:lstStyle>
          <a:p>
            <a:pPr lvl="0"/>
            <a:r>
              <a:rPr lang="en-US"/>
              <a:t>Paste device image here</a:t>
            </a:r>
          </a:p>
        </p:txBody>
      </p:sp>
      <p:sp>
        <p:nvSpPr>
          <p:cNvPr id="43" name="Text Placeholder 19"/>
          <p:cNvSpPr>
            <a:spLocks noGrp="1"/>
          </p:cNvSpPr>
          <p:nvPr>
            <p:ph type="body" sz="quarter" idx="40" hasCustomPrompt="1"/>
          </p:nvPr>
        </p:nvSpPr>
        <p:spPr>
          <a:xfrm>
            <a:off x="4156247" y="5904210"/>
            <a:ext cx="1434280" cy="576109"/>
          </a:xfrm>
        </p:spPr>
        <p:txBody>
          <a:bodyPr/>
          <a:lstStyle>
            <a:lvl1pPr algn="ctr">
              <a:spcBef>
                <a:spcPts val="0"/>
              </a:spcBef>
              <a:spcAft>
                <a:spcPts val="0"/>
              </a:spcAft>
              <a:defRPr sz="882"/>
            </a:lvl1pPr>
            <a:lvl2pPr algn="ctr">
              <a:spcBef>
                <a:spcPts val="0"/>
              </a:spcBef>
              <a:spcAft>
                <a:spcPts val="0"/>
              </a:spcAft>
              <a:defRPr sz="882"/>
            </a:lvl2pPr>
            <a:lvl3pPr algn="ctr">
              <a:spcBef>
                <a:spcPts val="0"/>
              </a:spcBef>
              <a:spcAft>
                <a:spcPts val="0"/>
              </a:spcAft>
              <a:defRPr sz="1029"/>
            </a:lvl3pPr>
            <a:lvl4pPr algn="ctr">
              <a:spcBef>
                <a:spcPts val="0"/>
              </a:spcBef>
              <a:spcAft>
                <a:spcPts val="0"/>
              </a:spcAft>
              <a:defRPr sz="1029"/>
            </a:lvl4pPr>
            <a:lvl5pPr algn="ctr">
              <a:spcBef>
                <a:spcPts val="0"/>
              </a:spcBef>
              <a:spcAft>
                <a:spcPts val="0"/>
              </a:spcAft>
              <a:defRPr sz="1029"/>
            </a:lvl5pPr>
          </a:lstStyle>
          <a:p>
            <a:pPr lvl="0"/>
            <a:r>
              <a:rPr lang="en-US"/>
              <a:t>Device Name</a:t>
            </a:r>
          </a:p>
          <a:p>
            <a:pPr lvl="1"/>
            <a:r>
              <a:rPr lang="en-US"/>
              <a:t>Second level</a:t>
            </a:r>
          </a:p>
        </p:txBody>
      </p:sp>
      <p:sp>
        <p:nvSpPr>
          <p:cNvPr id="44" name="Content Placeholder 14"/>
          <p:cNvSpPr>
            <a:spLocks noGrp="1"/>
          </p:cNvSpPr>
          <p:nvPr>
            <p:ph sz="quarter" idx="41" hasCustomPrompt="1"/>
          </p:nvPr>
        </p:nvSpPr>
        <p:spPr>
          <a:xfrm>
            <a:off x="5691879" y="4981766"/>
            <a:ext cx="1434280" cy="849186"/>
          </a:xfrm>
        </p:spPr>
        <p:txBody>
          <a:bodyPr anchor="ctr"/>
          <a:lstStyle>
            <a:lvl1pPr algn="ctr">
              <a:defRPr sz="1176">
                <a:solidFill>
                  <a:srgbClr val="FF0000"/>
                </a:solidFill>
              </a:defRPr>
            </a:lvl1pPr>
          </a:lstStyle>
          <a:p>
            <a:pPr lvl="0"/>
            <a:r>
              <a:rPr lang="en-US"/>
              <a:t>Paste device image here</a:t>
            </a:r>
          </a:p>
        </p:txBody>
      </p:sp>
      <p:sp>
        <p:nvSpPr>
          <p:cNvPr id="45" name="Text Placeholder 19"/>
          <p:cNvSpPr>
            <a:spLocks noGrp="1"/>
          </p:cNvSpPr>
          <p:nvPr>
            <p:ph type="body" sz="quarter" idx="42" hasCustomPrompt="1"/>
          </p:nvPr>
        </p:nvSpPr>
        <p:spPr>
          <a:xfrm>
            <a:off x="5691879" y="5904210"/>
            <a:ext cx="1434280" cy="576109"/>
          </a:xfrm>
        </p:spPr>
        <p:txBody>
          <a:bodyPr/>
          <a:lstStyle>
            <a:lvl1pPr algn="ctr">
              <a:spcBef>
                <a:spcPts val="0"/>
              </a:spcBef>
              <a:spcAft>
                <a:spcPts val="0"/>
              </a:spcAft>
              <a:defRPr sz="882"/>
            </a:lvl1pPr>
            <a:lvl2pPr algn="ctr">
              <a:spcBef>
                <a:spcPts val="0"/>
              </a:spcBef>
              <a:spcAft>
                <a:spcPts val="0"/>
              </a:spcAft>
              <a:defRPr sz="882"/>
            </a:lvl2pPr>
            <a:lvl3pPr algn="ctr">
              <a:spcBef>
                <a:spcPts val="0"/>
              </a:spcBef>
              <a:spcAft>
                <a:spcPts val="0"/>
              </a:spcAft>
              <a:defRPr sz="1029"/>
            </a:lvl3pPr>
            <a:lvl4pPr algn="ctr">
              <a:spcBef>
                <a:spcPts val="0"/>
              </a:spcBef>
              <a:spcAft>
                <a:spcPts val="0"/>
              </a:spcAft>
              <a:defRPr sz="1029"/>
            </a:lvl4pPr>
            <a:lvl5pPr algn="ctr">
              <a:spcBef>
                <a:spcPts val="0"/>
              </a:spcBef>
              <a:spcAft>
                <a:spcPts val="0"/>
              </a:spcAft>
              <a:defRPr sz="1029"/>
            </a:lvl5pPr>
          </a:lstStyle>
          <a:p>
            <a:pPr lvl="0"/>
            <a:r>
              <a:rPr lang="en-US"/>
              <a:t>Device Name</a:t>
            </a:r>
          </a:p>
          <a:p>
            <a:pPr lvl="1"/>
            <a:r>
              <a:rPr lang="en-US"/>
              <a:t>Second level</a:t>
            </a:r>
          </a:p>
        </p:txBody>
      </p:sp>
      <p:sp>
        <p:nvSpPr>
          <p:cNvPr id="46" name="Content Placeholder 14"/>
          <p:cNvSpPr>
            <a:spLocks noGrp="1"/>
          </p:cNvSpPr>
          <p:nvPr>
            <p:ph sz="quarter" idx="43" hasCustomPrompt="1"/>
          </p:nvPr>
        </p:nvSpPr>
        <p:spPr>
          <a:xfrm>
            <a:off x="7227510" y="4981766"/>
            <a:ext cx="1434280" cy="849186"/>
          </a:xfrm>
        </p:spPr>
        <p:txBody>
          <a:bodyPr anchor="ctr"/>
          <a:lstStyle>
            <a:lvl1pPr algn="ctr">
              <a:defRPr sz="1176">
                <a:solidFill>
                  <a:srgbClr val="FF0000"/>
                </a:solidFill>
              </a:defRPr>
            </a:lvl1pPr>
          </a:lstStyle>
          <a:p>
            <a:pPr lvl="0"/>
            <a:r>
              <a:rPr lang="en-US"/>
              <a:t>Paste device image here</a:t>
            </a:r>
          </a:p>
        </p:txBody>
      </p:sp>
      <p:sp>
        <p:nvSpPr>
          <p:cNvPr id="47" name="Text Placeholder 19"/>
          <p:cNvSpPr>
            <a:spLocks noGrp="1"/>
          </p:cNvSpPr>
          <p:nvPr>
            <p:ph type="body" sz="quarter" idx="44" hasCustomPrompt="1"/>
          </p:nvPr>
        </p:nvSpPr>
        <p:spPr>
          <a:xfrm>
            <a:off x="7227510" y="5904210"/>
            <a:ext cx="1434280" cy="576109"/>
          </a:xfrm>
        </p:spPr>
        <p:txBody>
          <a:bodyPr/>
          <a:lstStyle>
            <a:lvl1pPr algn="ctr">
              <a:spcBef>
                <a:spcPts val="0"/>
              </a:spcBef>
              <a:spcAft>
                <a:spcPts val="0"/>
              </a:spcAft>
              <a:defRPr sz="882"/>
            </a:lvl1pPr>
            <a:lvl2pPr algn="ctr">
              <a:spcBef>
                <a:spcPts val="0"/>
              </a:spcBef>
              <a:spcAft>
                <a:spcPts val="0"/>
              </a:spcAft>
              <a:defRPr sz="882"/>
            </a:lvl2pPr>
            <a:lvl3pPr algn="ctr">
              <a:spcBef>
                <a:spcPts val="0"/>
              </a:spcBef>
              <a:spcAft>
                <a:spcPts val="0"/>
              </a:spcAft>
              <a:defRPr sz="1029"/>
            </a:lvl3pPr>
            <a:lvl4pPr algn="ctr">
              <a:spcBef>
                <a:spcPts val="0"/>
              </a:spcBef>
              <a:spcAft>
                <a:spcPts val="0"/>
              </a:spcAft>
              <a:defRPr sz="1029"/>
            </a:lvl4pPr>
            <a:lvl5pPr algn="ctr">
              <a:spcBef>
                <a:spcPts val="0"/>
              </a:spcBef>
              <a:spcAft>
                <a:spcPts val="0"/>
              </a:spcAft>
              <a:defRPr sz="1029"/>
            </a:lvl5pPr>
          </a:lstStyle>
          <a:p>
            <a:pPr lvl="0"/>
            <a:r>
              <a:rPr lang="en-US"/>
              <a:t>Device Name</a:t>
            </a:r>
          </a:p>
          <a:p>
            <a:pPr lvl="1"/>
            <a:r>
              <a:rPr lang="en-US"/>
              <a:t>Second level</a:t>
            </a:r>
          </a:p>
        </p:txBody>
      </p:sp>
      <p:sp>
        <p:nvSpPr>
          <p:cNvPr id="48" name="Content Placeholder 14"/>
          <p:cNvSpPr>
            <a:spLocks noGrp="1"/>
          </p:cNvSpPr>
          <p:nvPr>
            <p:ph sz="quarter" idx="45" hasCustomPrompt="1"/>
          </p:nvPr>
        </p:nvSpPr>
        <p:spPr>
          <a:xfrm>
            <a:off x="8763142" y="4981766"/>
            <a:ext cx="1434280" cy="849186"/>
          </a:xfrm>
        </p:spPr>
        <p:txBody>
          <a:bodyPr anchor="ctr"/>
          <a:lstStyle>
            <a:lvl1pPr algn="ctr">
              <a:defRPr sz="1176">
                <a:solidFill>
                  <a:srgbClr val="FF0000"/>
                </a:solidFill>
              </a:defRPr>
            </a:lvl1pPr>
          </a:lstStyle>
          <a:p>
            <a:pPr lvl="0"/>
            <a:r>
              <a:rPr lang="en-US"/>
              <a:t>Paste device image here</a:t>
            </a:r>
          </a:p>
        </p:txBody>
      </p:sp>
      <p:sp>
        <p:nvSpPr>
          <p:cNvPr id="49" name="Text Placeholder 19"/>
          <p:cNvSpPr>
            <a:spLocks noGrp="1"/>
          </p:cNvSpPr>
          <p:nvPr>
            <p:ph type="body" sz="quarter" idx="46" hasCustomPrompt="1"/>
          </p:nvPr>
        </p:nvSpPr>
        <p:spPr>
          <a:xfrm>
            <a:off x="8763142" y="5904210"/>
            <a:ext cx="1434280" cy="576109"/>
          </a:xfrm>
        </p:spPr>
        <p:txBody>
          <a:bodyPr/>
          <a:lstStyle>
            <a:lvl1pPr algn="ctr">
              <a:spcBef>
                <a:spcPts val="0"/>
              </a:spcBef>
              <a:spcAft>
                <a:spcPts val="0"/>
              </a:spcAft>
              <a:defRPr sz="882"/>
            </a:lvl1pPr>
            <a:lvl2pPr algn="ctr">
              <a:spcBef>
                <a:spcPts val="0"/>
              </a:spcBef>
              <a:spcAft>
                <a:spcPts val="0"/>
              </a:spcAft>
              <a:defRPr sz="882"/>
            </a:lvl2pPr>
            <a:lvl3pPr algn="ctr">
              <a:spcBef>
                <a:spcPts val="0"/>
              </a:spcBef>
              <a:spcAft>
                <a:spcPts val="0"/>
              </a:spcAft>
              <a:defRPr sz="1029"/>
            </a:lvl3pPr>
            <a:lvl4pPr algn="ctr">
              <a:spcBef>
                <a:spcPts val="0"/>
              </a:spcBef>
              <a:spcAft>
                <a:spcPts val="0"/>
              </a:spcAft>
              <a:defRPr sz="1029"/>
            </a:lvl4pPr>
            <a:lvl5pPr algn="ctr">
              <a:spcBef>
                <a:spcPts val="0"/>
              </a:spcBef>
              <a:spcAft>
                <a:spcPts val="0"/>
              </a:spcAft>
              <a:defRPr sz="1029"/>
            </a:lvl5pPr>
          </a:lstStyle>
          <a:p>
            <a:pPr lvl="0"/>
            <a:r>
              <a:rPr lang="en-US"/>
              <a:t>Device Name</a:t>
            </a:r>
          </a:p>
          <a:p>
            <a:pPr lvl="1"/>
            <a:r>
              <a:rPr lang="en-US"/>
              <a:t>Second level</a:t>
            </a:r>
          </a:p>
        </p:txBody>
      </p:sp>
      <p:grpSp>
        <p:nvGrpSpPr>
          <p:cNvPr id="58" name="Group 57"/>
          <p:cNvGrpSpPr/>
          <p:nvPr userDrawn="1"/>
        </p:nvGrpSpPr>
        <p:grpSpPr>
          <a:xfrm>
            <a:off x="381293" y="1565658"/>
            <a:ext cx="11426463" cy="3320704"/>
            <a:chOff x="388938" y="1203960"/>
            <a:chExt cx="8849681" cy="3530278"/>
          </a:xfrm>
        </p:grpSpPr>
        <p:cxnSp>
          <p:nvCxnSpPr>
            <p:cNvPr id="30" name="Straight Connector 29"/>
            <p:cNvCxnSpPr>
              <a:cxnSpLocks/>
            </p:cNvCxnSpPr>
            <p:nvPr userDrawn="1"/>
          </p:nvCxnSpPr>
          <p:spPr>
            <a:xfrm flipV="1">
              <a:off x="388938" y="1203960"/>
              <a:ext cx="8849681" cy="1"/>
            </a:xfrm>
            <a:prstGeom prst="line">
              <a:avLst/>
            </a:prstGeom>
            <a:ln w="12700">
              <a:solidFill>
                <a:srgbClr val="004B5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cxnSpLocks/>
            </p:cNvCxnSpPr>
            <p:nvPr userDrawn="1"/>
          </p:nvCxnSpPr>
          <p:spPr>
            <a:xfrm>
              <a:off x="388938" y="2969452"/>
              <a:ext cx="8849681" cy="0"/>
            </a:xfrm>
            <a:prstGeom prst="line">
              <a:avLst/>
            </a:prstGeom>
            <a:ln w="12700">
              <a:solidFill>
                <a:srgbClr val="0E7F7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cxnSpLocks/>
            </p:cNvCxnSpPr>
            <p:nvPr userDrawn="1"/>
          </p:nvCxnSpPr>
          <p:spPr>
            <a:xfrm>
              <a:off x="388938" y="4734238"/>
              <a:ext cx="8849681" cy="0"/>
            </a:xfrm>
            <a:prstGeom prst="line">
              <a:avLst/>
            </a:prstGeom>
            <a:ln w="12700">
              <a:solidFill>
                <a:srgbClr val="00B294"/>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5" name="TextBox 54"/>
          <p:cNvSpPr txBox="1"/>
          <p:nvPr userDrawn="1"/>
        </p:nvSpPr>
        <p:spPr>
          <a:xfrm>
            <a:off x="4156248" y="1295280"/>
            <a:ext cx="1672950" cy="274463"/>
          </a:xfrm>
          <a:prstGeom prst="rect">
            <a:avLst/>
          </a:prstGeom>
          <a:noFill/>
        </p:spPr>
        <p:txBody>
          <a:bodyPr wrap="none" lIns="0" rIns="0" rtlCol="0" anchor="ctr">
            <a:noAutofit/>
          </a:bodyPr>
          <a:lstStyle>
            <a:defPPr>
              <a:defRPr lang="en-US"/>
            </a:defPPr>
            <a:lvl1pPr>
              <a:defRPr sz="1050">
                <a:solidFill>
                  <a:schemeClr val="tx1">
                    <a:lumMod val="75000"/>
                  </a:schemeClr>
                </a:solidFill>
                <a:latin typeface="Segoe UI Semibold" panose="020B0702040204020203" pitchFamily="34" charset="0"/>
                <a:cs typeface="Segoe UI Semibold" panose="020B0702040204020203" pitchFamily="34" charset="0"/>
              </a:defRPr>
            </a:lvl1pPr>
          </a:lstStyle>
          <a:p>
            <a:pPr lvl="0"/>
            <a:r>
              <a:rPr lang="en-US" sz="1029"/>
              <a:t>Hero Designs</a:t>
            </a:r>
          </a:p>
        </p:txBody>
      </p:sp>
      <p:sp>
        <p:nvSpPr>
          <p:cNvPr id="56" name="TextBox 55"/>
          <p:cNvSpPr txBox="1"/>
          <p:nvPr userDrawn="1"/>
        </p:nvSpPr>
        <p:spPr>
          <a:xfrm>
            <a:off x="10373475" y="1295280"/>
            <a:ext cx="1434281" cy="274463"/>
          </a:xfrm>
          <a:prstGeom prst="rect">
            <a:avLst/>
          </a:prstGeom>
          <a:noFill/>
        </p:spPr>
        <p:txBody>
          <a:bodyPr wrap="none" lIns="0" rIns="0" rtlCol="0" anchor="ctr">
            <a:noAutofit/>
          </a:bodyPr>
          <a:lstStyle>
            <a:defPPr>
              <a:defRPr lang="en-US"/>
            </a:defPPr>
            <a:lvl1pPr lvl="0">
              <a:defRPr sz="1050">
                <a:solidFill>
                  <a:schemeClr val="tx1">
                    <a:lumMod val="75000"/>
                  </a:schemeClr>
                </a:solidFill>
                <a:latin typeface="Segoe UI Semibold" panose="020B0702040204020203" pitchFamily="34" charset="0"/>
                <a:cs typeface="Segoe UI Semibold" panose="020B0702040204020203" pitchFamily="34" charset="0"/>
              </a:defRPr>
            </a:lvl1pPr>
          </a:lstStyle>
          <a:p>
            <a:pPr lvl="0"/>
            <a:r>
              <a:rPr lang="en-US" sz="1029"/>
              <a:t>Typical Specs</a:t>
            </a:r>
          </a:p>
        </p:txBody>
      </p:sp>
      <p:sp>
        <p:nvSpPr>
          <p:cNvPr id="59" name="TextBox 58"/>
          <p:cNvSpPr txBox="1"/>
          <p:nvPr userDrawn="1"/>
        </p:nvSpPr>
        <p:spPr>
          <a:xfrm>
            <a:off x="796465" y="1295280"/>
            <a:ext cx="1672950" cy="274463"/>
          </a:xfrm>
          <a:prstGeom prst="rect">
            <a:avLst/>
          </a:prstGeom>
          <a:noFill/>
        </p:spPr>
        <p:txBody>
          <a:bodyPr wrap="none" lIns="0" rIns="0" rtlCol="0" anchor="ctr">
            <a:noAutofit/>
          </a:bodyPr>
          <a:lstStyle/>
          <a:p>
            <a:pPr algn="l"/>
            <a:r>
              <a:rPr lang="en-US" sz="1029">
                <a:solidFill>
                  <a:schemeClr val="tx1">
                    <a:lumMod val="75000"/>
                  </a:schemeClr>
                </a:solidFill>
                <a:latin typeface="Segoe UI Semibold" panose="020B0702040204020203" pitchFamily="34" charset="0"/>
                <a:cs typeface="Segoe UI Semibold" panose="020B0702040204020203" pitchFamily="34" charset="0"/>
              </a:rPr>
              <a:t>Scenarios</a:t>
            </a:r>
          </a:p>
        </p:txBody>
      </p:sp>
      <p:sp>
        <p:nvSpPr>
          <p:cNvPr id="60" name="Text Placeholder 19"/>
          <p:cNvSpPr>
            <a:spLocks noGrp="1"/>
          </p:cNvSpPr>
          <p:nvPr>
            <p:ph type="body" sz="quarter" idx="48" hasCustomPrompt="1"/>
          </p:nvPr>
        </p:nvSpPr>
        <p:spPr>
          <a:xfrm>
            <a:off x="796465" y="1660439"/>
            <a:ext cx="3229977" cy="1498552"/>
          </a:xfrm>
        </p:spPr>
        <p:txBody>
          <a:bodyPr/>
          <a:lstStyle>
            <a:lvl1pPr algn="l">
              <a:spcBef>
                <a:spcPts val="1176"/>
              </a:spcBef>
              <a:spcAft>
                <a:spcPts val="0"/>
              </a:spcAft>
              <a:defRPr sz="882"/>
            </a:lvl1pPr>
            <a:lvl2pPr algn="l">
              <a:spcBef>
                <a:spcPts val="0"/>
              </a:spcBef>
              <a:spcAft>
                <a:spcPts val="0"/>
              </a:spcAft>
              <a:defRPr sz="882"/>
            </a:lvl2pPr>
            <a:lvl3pPr algn="ctr">
              <a:spcBef>
                <a:spcPts val="0"/>
              </a:spcBef>
              <a:spcAft>
                <a:spcPts val="0"/>
              </a:spcAft>
              <a:defRPr sz="1029"/>
            </a:lvl3pPr>
            <a:lvl4pPr algn="ctr">
              <a:spcBef>
                <a:spcPts val="0"/>
              </a:spcBef>
              <a:spcAft>
                <a:spcPts val="0"/>
              </a:spcAft>
              <a:defRPr sz="1029"/>
            </a:lvl4pPr>
            <a:lvl5pPr algn="ctr">
              <a:spcBef>
                <a:spcPts val="0"/>
              </a:spcBef>
              <a:spcAft>
                <a:spcPts val="0"/>
              </a:spcAft>
              <a:defRPr sz="1029"/>
            </a:lvl5pPr>
          </a:lstStyle>
          <a:p>
            <a:pPr lvl="0"/>
            <a:r>
              <a:rPr lang="en-US"/>
              <a:t>Overview</a:t>
            </a:r>
          </a:p>
          <a:p>
            <a:pPr lvl="1"/>
            <a:r>
              <a:rPr lang="en-US"/>
              <a:t>Specifications</a:t>
            </a:r>
          </a:p>
        </p:txBody>
      </p:sp>
      <p:sp>
        <p:nvSpPr>
          <p:cNvPr id="61" name="Text Placeholder 19"/>
          <p:cNvSpPr>
            <a:spLocks noGrp="1"/>
          </p:cNvSpPr>
          <p:nvPr>
            <p:ph type="body" sz="quarter" idx="49" hasCustomPrompt="1"/>
          </p:nvPr>
        </p:nvSpPr>
        <p:spPr>
          <a:xfrm>
            <a:off x="796465" y="3312105"/>
            <a:ext cx="3229977" cy="1498552"/>
          </a:xfrm>
        </p:spPr>
        <p:txBody>
          <a:bodyPr/>
          <a:lstStyle>
            <a:lvl1pPr algn="l">
              <a:spcBef>
                <a:spcPts val="1176"/>
              </a:spcBef>
              <a:spcAft>
                <a:spcPts val="0"/>
              </a:spcAft>
              <a:defRPr sz="882"/>
            </a:lvl1pPr>
            <a:lvl2pPr algn="l">
              <a:spcBef>
                <a:spcPts val="0"/>
              </a:spcBef>
              <a:spcAft>
                <a:spcPts val="0"/>
              </a:spcAft>
              <a:defRPr sz="882"/>
            </a:lvl2pPr>
            <a:lvl3pPr algn="ctr">
              <a:spcBef>
                <a:spcPts val="0"/>
              </a:spcBef>
              <a:spcAft>
                <a:spcPts val="0"/>
              </a:spcAft>
              <a:defRPr sz="1029"/>
            </a:lvl3pPr>
            <a:lvl4pPr algn="ctr">
              <a:spcBef>
                <a:spcPts val="0"/>
              </a:spcBef>
              <a:spcAft>
                <a:spcPts val="0"/>
              </a:spcAft>
              <a:defRPr sz="1029"/>
            </a:lvl4pPr>
            <a:lvl5pPr algn="ctr">
              <a:spcBef>
                <a:spcPts val="0"/>
              </a:spcBef>
              <a:spcAft>
                <a:spcPts val="0"/>
              </a:spcAft>
              <a:defRPr sz="1029"/>
            </a:lvl5pPr>
          </a:lstStyle>
          <a:p>
            <a:pPr lvl="0"/>
            <a:r>
              <a:rPr lang="en-US"/>
              <a:t>Overview</a:t>
            </a:r>
          </a:p>
          <a:p>
            <a:pPr lvl="1"/>
            <a:r>
              <a:rPr lang="en-US"/>
              <a:t>Specifications</a:t>
            </a:r>
          </a:p>
        </p:txBody>
      </p:sp>
      <p:sp>
        <p:nvSpPr>
          <p:cNvPr id="62" name="Text Placeholder 19"/>
          <p:cNvSpPr>
            <a:spLocks noGrp="1"/>
          </p:cNvSpPr>
          <p:nvPr>
            <p:ph type="body" sz="quarter" idx="50" hasCustomPrompt="1"/>
          </p:nvPr>
        </p:nvSpPr>
        <p:spPr>
          <a:xfrm>
            <a:off x="796465" y="4981767"/>
            <a:ext cx="3229977" cy="1498552"/>
          </a:xfrm>
        </p:spPr>
        <p:txBody>
          <a:bodyPr/>
          <a:lstStyle>
            <a:lvl1pPr algn="l">
              <a:spcBef>
                <a:spcPts val="1176"/>
              </a:spcBef>
              <a:spcAft>
                <a:spcPts val="0"/>
              </a:spcAft>
              <a:defRPr sz="882"/>
            </a:lvl1pPr>
            <a:lvl2pPr algn="l">
              <a:spcBef>
                <a:spcPts val="0"/>
              </a:spcBef>
              <a:spcAft>
                <a:spcPts val="0"/>
              </a:spcAft>
              <a:defRPr sz="882"/>
            </a:lvl2pPr>
            <a:lvl3pPr algn="ctr">
              <a:spcBef>
                <a:spcPts val="0"/>
              </a:spcBef>
              <a:spcAft>
                <a:spcPts val="0"/>
              </a:spcAft>
              <a:defRPr sz="1029"/>
            </a:lvl3pPr>
            <a:lvl4pPr algn="ctr">
              <a:spcBef>
                <a:spcPts val="0"/>
              </a:spcBef>
              <a:spcAft>
                <a:spcPts val="0"/>
              </a:spcAft>
              <a:defRPr sz="1029"/>
            </a:lvl4pPr>
            <a:lvl5pPr algn="ctr">
              <a:spcBef>
                <a:spcPts val="0"/>
              </a:spcBef>
              <a:spcAft>
                <a:spcPts val="0"/>
              </a:spcAft>
              <a:defRPr sz="1029"/>
            </a:lvl5pPr>
          </a:lstStyle>
          <a:p>
            <a:pPr lvl="0"/>
            <a:r>
              <a:rPr lang="en-US"/>
              <a:t>Overview</a:t>
            </a:r>
          </a:p>
          <a:p>
            <a:pPr lvl="1"/>
            <a:r>
              <a:rPr lang="en-US"/>
              <a:t>Specifications</a:t>
            </a:r>
          </a:p>
        </p:txBody>
      </p:sp>
      <p:sp>
        <p:nvSpPr>
          <p:cNvPr id="64" name="Title 63"/>
          <p:cNvSpPr>
            <a:spLocks noGrp="1"/>
          </p:cNvSpPr>
          <p:nvPr>
            <p:ph type="title"/>
          </p:nvPr>
        </p:nvSpPr>
        <p:spPr>
          <a:xfrm>
            <a:off x="381293" y="235035"/>
            <a:ext cx="11426462" cy="603538"/>
          </a:xfrm>
        </p:spPr>
        <p:txBody>
          <a:bodyPr/>
          <a:lstStyle/>
          <a:p>
            <a:r>
              <a:rPr lang="en-US"/>
              <a:t>Click to edit Master title style</a:t>
            </a:r>
          </a:p>
        </p:txBody>
      </p:sp>
      <p:sp>
        <p:nvSpPr>
          <p:cNvPr id="65" name="Text Placeholder 2"/>
          <p:cNvSpPr>
            <a:spLocks noGrp="1"/>
          </p:cNvSpPr>
          <p:nvPr>
            <p:ph type="body" sz="quarter" idx="14"/>
          </p:nvPr>
        </p:nvSpPr>
        <p:spPr>
          <a:xfrm>
            <a:off x="381294" y="838963"/>
            <a:ext cx="3007457" cy="452654"/>
          </a:xfrm>
        </p:spPr>
        <p:txBody>
          <a:bodyPr wrap="none">
            <a:spAutoFit/>
          </a:bodyPr>
          <a:lstStyle>
            <a:lvl1pPr>
              <a:defRPr lang="en-US" sz="2353" kern="1200" baseline="0" dirty="0">
                <a:gradFill>
                  <a:gsLst>
                    <a:gs pos="2917">
                      <a:schemeClr val="tx1">
                        <a:lumMod val="75000"/>
                      </a:schemeClr>
                    </a:gs>
                    <a:gs pos="100000">
                      <a:schemeClr val="tx1">
                        <a:lumMod val="75000"/>
                      </a:schemeClr>
                    </a:gs>
                  </a:gsLst>
                  <a:lin ang="5400000" scaled="0"/>
                </a:gradFill>
                <a:latin typeface="Segoe UI Semibold" panose="020B0702040204020203" pitchFamily="34" charset="0"/>
                <a:ea typeface="+mn-ea"/>
                <a:cs typeface="Segoe UI Semibold" panose="020B0702040204020203" pitchFamily="34" charset="0"/>
              </a:defRPr>
            </a:lvl1pPr>
          </a:lstStyle>
          <a:p>
            <a:pPr lvl="0"/>
            <a:r>
              <a:rPr lang="en-US"/>
              <a:t>Edit Master text styles</a:t>
            </a:r>
          </a:p>
        </p:txBody>
      </p:sp>
      <p:sp>
        <p:nvSpPr>
          <p:cNvPr id="68" name="Text Placeholder 19"/>
          <p:cNvSpPr>
            <a:spLocks noGrp="1"/>
          </p:cNvSpPr>
          <p:nvPr>
            <p:ph type="body" sz="quarter" idx="51" hasCustomPrompt="1"/>
          </p:nvPr>
        </p:nvSpPr>
        <p:spPr>
          <a:xfrm>
            <a:off x="10373475" y="3320458"/>
            <a:ext cx="1434280" cy="1498552"/>
          </a:xfrm>
        </p:spPr>
        <p:txBody>
          <a:bodyPr/>
          <a:lstStyle>
            <a:lvl1pPr algn="l">
              <a:spcBef>
                <a:spcPts val="0"/>
              </a:spcBef>
              <a:spcAft>
                <a:spcPts val="294"/>
              </a:spcAft>
              <a:defRPr sz="882"/>
            </a:lvl1pPr>
            <a:lvl2pPr algn="l">
              <a:spcBef>
                <a:spcPts val="0"/>
              </a:spcBef>
              <a:spcAft>
                <a:spcPts val="294"/>
              </a:spcAft>
              <a:defRPr sz="882"/>
            </a:lvl2pPr>
            <a:lvl3pPr algn="ctr">
              <a:spcBef>
                <a:spcPts val="0"/>
              </a:spcBef>
              <a:spcAft>
                <a:spcPts val="0"/>
              </a:spcAft>
              <a:defRPr sz="1029"/>
            </a:lvl3pPr>
            <a:lvl4pPr algn="ctr">
              <a:spcBef>
                <a:spcPts val="0"/>
              </a:spcBef>
              <a:spcAft>
                <a:spcPts val="0"/>
              </a:spcAft>
              <a:defRPr sz="1029"/>
            </a:lvl4pPr>
            <a:lvl5pPr algn="ctr">
              <a:spcBef>
                <a:spcPts val="0"/>
              </a:spcBef>
              <a:spcAft>
                <a:spcPts val="0"/>
              </a:spcAft>
              <a:defRPr sz="1029"/>
            </a:lvl5pPr>
          </a:lstStyle>
          <a:p>
            <a:pPr lvl="0"/>
            <a:r>
              <a:rPr lang="en-US"/>
              <a:t>Price</a:t>
            </a:r>
          </a:p>
          <a:p>
            <a:pPr lvl="1"/>
            <a:r>
              <a:rPr lang="en-US"/>
              <a:t>Specifications</a:t>
            </a:r>
          </a:p>
        </p:txBody>
      </p:sp>
      <p:sp>
        <p:nvSpPr>
          <p:cNvPr id="69" name="Text Placeholder 19"/>
          <p:cNvSpPr>
            <a:spLocks noGrp="1"/>
          </p:cNvSpPr>
          <p:nvPr>
            <p:ph type="body" sz="quarter" idx="52" hasCustomPrompt="1"/>
          </p:nvPr>
        </p:nvSpPr>
        <p:spPr>
          <a:xfrm>
            <a:off x="10373475" y="4980477"/>
            <a:ext cx="1434280" cy="1498552"/>
          </a:xfrm>
        </p:spPr>
        <p:txBody>
          <a:bodyPr/>
          <a:lstStyle>
            <a:lvl1pPr algn="l">
              <a:spcBef>
                <a:spcPts val="0"/>
              </a:spcBef>
              <a:spcAft>
                <a:spcPts val="294"/>
              </a:spcAft>
              <a:defRPr sz="882"/>
            </a:lvl1pPr>
            <a:lvl2pPr algn="l">
              <a:spcBef>
                <a:spcPts val="0"/>
              </a:spcBef>
              <a:spcAft>
                <a:spcPts val="294"/>
              </a:spcAft>
              <a:defRPr sz="882"/>
            </a:lvl2pPr>
            <a:lvl3pPr algn="ctr">
              <a:spcBef>
                <a:spcPts val="0"/>
              </a:spcBef>
              <a:spcAft>
                <a:spcPts val="0"/>
              </a:spcAft>
              <a:defRPr sz="1029"/>
            </a:lvl3pPr>
            <a:lvl4pPr algn="ctr">
              <a:spcBef>
                <a:spcPts val="0"/>
              </a:spcBef>
              <a:spcAft>
                <a:spcPts val="0"/>
              </a:spcAft>
              <a:defRPr sz="1029"/>
            </a:lvl4pPr>
            <a:lvl5pPr algn="ctr">
              <a:spcBef>
                <a:spcPts val="0"/>
              </a:spcBef>
              <a:spcAft>
                <a:spcPts val="0"/>
              </a:spcAft>
              <a:defRPr sz="1029"/>
            </a:lvl5pPr>
          </a:lstStyle>
          <a:p>
            <a:pPr lvl="0"/>
            <a:r>
              <a:rPr lang="en-US"/>
              <a:t>Price</a:t>
            </a:r>
          </a:p>
          <a:p>
            <a:pPr lvl="1"/>
            <a:r>
              <a:rPr lang="en-US"/>
              <a:t>Specifications</a:t>
            </a:r>
          </a:p>
        </p:txBody>
      </p:sp>
    </p:spTree>
    <p:extLst>
      <p:ext uri="{BB962C8B-B14F-4D97-AF65-F5344CB8AC3E}">
        <p14:creationId xmlns:p14="http://schemas.microsoft.com/office/powerpoint/2010/main" val="1639551636"/>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65A3DDA3-3163-4A84-9C1F-BB36ECA14ABA}" type="datetime1">
              <a:rPr lang="en-US" smtClean="0"/>
              <a:t>3/4/2019</a:t>
            </a:fld>
            <a:endParaRPr lang="en-US"/>
          </a:p>
        </p:txBody>
      </p:sp>
      <p:sp>
        <p:nvSpPr>
          <p:cNvPr id="6" name="Footer Placeholder 5"/>
          <p:cNvSpPr>
            <a:spLocks noGrp="1"/>
          </p:cNvSpPr>
          <p:nvPr>
            <p:ph type="ftr" sz="quarter" idx="11"/>
          </p:nvPr>
        </p:nvSpPr>
        <p:spPr/>
        <p:txBody>
          <a:bodyPr/>
          <a:lstStyle/>
          <a:p>
            <a:r>
              <a:rPr lang="en-US"/>
              <a:t>MICROSOFT CONFIDENTIAL Pre-release simulated screenshot shown, final experience may differ</a:t>
            </a:r>
          </a:p>
        </p:txBody>
      </p:sp>
      <p:sp>
        <p:nvSpPr>
          <p:cNvPr id="7" name="Slide Number Placeholder 6"/>
          <p:cNvSpPr>
            <a:spLocks noGrp="1"/>
          </p:cNvSpPr>
          <p:nvPr>
            <p:ph type="sldNum" sz="quarter" idx="12"/>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1212783820"/>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Closing">
    <p:spTree>
      <p:nvGrpSpPr>
        <p:cNvPr id="1" name=""/>
        <p:cNvGrpSpPr/>
        <p:nvPr/>
      </p:nvGrpSpPr>
      <p:grpSpPr>
        <a:xfrm>
          <a:off x="0" y="0"/>
          <a:ext cx="0" cy="0"/>
          <a:chOff x="0" y="0"/>
          <a:chExt cx="0" cy="0"/>
        </a:xfrm>
      </p:grpSpPr>
      <p:sp>
        <p:nvSpPr>
          <p:cNvPr id="2" name="Rectangle 1"/>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8844" y="2658525"/>
            <a:ext cx="3437540" cy="1540950"/>
          </a:xfrm>
          <a:prstGeom prst="rect">
            <a:avLst/>
          </a:prstGeom>
        </p:spPr>
      </p:pic>
      <p:sp>
        <p:nvSpPr>
          <p:cNvPr id="9" name="Text Box 3"/>
          <p:cNvSpPr txBox="1">
            <a:spLocks noChangeArrowheads="1"/>
          </p:cNvSpPr>
          <p:nvPr userDrawn="1"/>
        </p:nvSpPr>
        <p:spPr bwMode="blackWhite">
          <a:xfrm>
            <a:off x="381293" y="5640751"/>
            <a:ext cx="11067756" cy="851469"/>
          </a:xfrm>
          <a:prstGeom prst="rect">
            <a:avLst/>
          </a:prstGeom>
          <a:noFill/>
          <a:ln w="12700">
            <a:noFill/>
            <a:miter lim="800000"/>
            <a:headEnd type="none" w="sm" len="sm"/>
            <a:tailEnd type="none" w="sm" len="sm"/>
          </a:ln>
          <a:effectLst/>
        </p:spPr>
        <p:txBody>
          <a:bodyPr vert="horz" wrap="square" lIns="0" tIns="45691" rIns="0" bIns="45691" numCol="1" anchor="b" anchorCtr="0" compatLnSpc="1">
            <a:prstTxWarp prst="textNoShape">
              <a:avLst/>
            </a:prstTxWarp>
            <a:noAutofit/>
          </a:bodyPr>
          <a:lstStyle/>
          <a:p>
            <a:pPr algn="l" defTabSz="913620" eaLnBrk="0" hangingPunct="0">
              <a:spcAft>
                <a:spcPts val="392"/>
              </a:spcAft>
            </a:pPr>
            <a:r>
              <a:rPr lang="en-US" sz="900">
                <a:gradFill>
                  <a:gsLst>
                    <a:gs pos="2917">
                      <a:schemeClr val="bg1"/>
                    </a:gs>
                    <a:gs pos="100000">
                      <a:schemeClr val="bg1"/>
                    </a:gs>
                  </a:gsLst>
                  <a:lin ang="5400000" scaled="0"/>
                </a:gradFill>
                <a:cs typeface="Arial" charset="0"/>
              </a:rPr>
              <a:t>© 2016 Microsoft </a:t>
            </a:r>
          </a:p>
          <a:p>
            <a:pPr algn="l" defTabSz="913620" eaLnBrk="0" hangingPunct="0">
              <a:spcAft>
                <a:spcPts val="392"/>
              </a:spcAft>
            </a:pPr>
            <a:r>
              <a:rPr lang="en-US" sz="900">
                <a:gradFill>
                  <a:gsLst>
                    <a:gs pos="2917">
                      <a:schemeClr val="bg1"/>
                    </a:gs>
                    <a:gs pos="100000">
                      <a:schemeClr val="bg1"/>
                    </a:gs>
                  </a:gsLst>
                  <a:lin ang="5400000" scaled="0"/>
                </a:gradFill>
                <a:cs typeface="Arial" charset="0"/>
              </a:rPr>
              <a:t>The information herein is for informational purposes only and represents the current view of Microsoft Corporation as of the date of this presentation. Because Microsoft must respond to changing </a:t>
            </a:r>
            <a:br>
              <a:rPr lang="en-US" sz="900">
                <a:gradFill>
                  <a:gsLst>
                    <a:gs pos="2917">
                      <a:schemeClr val="bg1"/>
                    </a:gs>
                    <a:gs pos="100000">
                      <a:schemeClr val="bg1"/>
                    </a:gs>
                  </a:gsLst>
                  <a:lin ang="5400000" scaled="0"/>
                </a:gradFill>
                <a:cs typeface="Arial" charset="0"/>
              </a:rPr>
            </a:br>
            <a:r>
              <a:rPr lang="en-US" sz="900">
                <a:gradFill>
                  <a:gsLst>
                    <a:gs pos="2917">
                      <a:schemeClr val="bg1"/>
                    </a:gs>
                    <a:gs pos="100000">
                      <a:schemeClr val="bg1"/>
                    </a:gs>
                  </a:gsLst>
                  <a:lin ang="5400000" scaled="0"/>
                </a:gradFill>
                <a:cs typeface="Arial" charset="0"/>
              </a:rPr>
              <a:t>market conditions, it should not be interpreted to be a commitment on the part of Microsoft, and Microsoft cannot guarantee the accuracy of any information provided after the date of this presentation. </a:t>
            </a:r>
          </a:p>
          <a:p>
            <a:pPr algn="l" defTabSz="913620" eaLnBrk="0" hangingPunct="0">
              <a:spcAft>
                <a:spcPts val="392"/>
              </a:spcAft>
            </a:pPr>
            <a:r>
              <a:rPr lang="en-US" sz="900">
                <a:gradFill>
                  <a:gsLst>
                    <a:gs pos="2917">
                      <a:schemeClr val="bg1"/>
                    </a:gs>
                    <a:gs pos="100000">
                      <a:schemeClr val="bg1"/>
                    </a:gs>
                  </a:gsLst>
                  <a:lin ang="5400000" scaled="0"/>
                </a:gradFill>
                <a:cs typeface="Arial" charset="0"/>
              </a:rPr>
              <a:t>Microsoft makes no warranties, express, implied or statutory, as to the information in this presentation.</a:t>
            </a:r>
          </a:p>
        </p:txBody>
      </p:sp>
      <p:sp>
        <p:nvSpPr>
          <p:cNvPr id="42" name="Rectangle 5"/>
          <p:cNvSpPr>
            <a:spLocks noChangeArrowheads="1"/>
          </p:cNvSpPr>
          <p:nvPr userDrawn="1"/>
        </p:nvSpPr>
        <p:spPr bwMode="auto">
          <a:xfrm>
            <a:off x="6362125" y="1494253"/>
            <a:ext cx="5554410" cy="3867937"/>
          </a:xfrm>
          <a:prstGeom prst="rect">
            <a:avLst/>
          </a:prstGeom>
          <a:solidFill>
            <a:schemeClr val="tx2"/>
          </a:solidFill>
          <a:ln>
            <a:noFill/>
          </a:ln>
          <a:extLst/>
        </p:spPr>
        <p:txBody>
          <a:bodyPr vert="horz" wrap="square" lIns="89642" tIns="44821" rIns="89642" bIns="44821" numCol="1" anchor="t" anchorCtr="0" compatLnSpc="1">
            <a:prstTxWarp prst="textNoShape">
              <a:avLst/>
            </a:prstTxWarp>
          </a:bodyPr>
          <a:lstStyle/>
          <a:p>
            <a:endParaRPr lang="en-US" sz="1765"/>
          </a:p>
        </p:txBody>
      </p:sp>
      <p:sp>
        <p:nvSpPr>
          <p:cNvPr id="43" name="Rectangle 6"/>
          <p:cNvSpPr>
            <a:spLocks noChangeArrowheads="1"/>
          </p:cNvSpPr>
          <p:nvPr userDrawn="1"/>
        </p:nvSpPr>
        <p:spPr bwMode="auto">
          <a:xfrm>
            <a:off x="6637590" y="1494253"/>
            <a:ext cx="5554410" cy="3867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4" name="Freeform 7"/>
          <p:cNvSpPr>
            <a:spLocks/>
          </p:cNvSpPr>
          <p:nvPr userDrawn="1"/>
        </p:nvSpPr>
        <p:spPr bwMode="auto">
          <a:xfrm>
            <a:off x="8086498" y="4439178"/>
            <a:ext cx="284802" cy="793822"/>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BA8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5" name="Freeform 8"/>
          <p:cNvSpPr>
            <a:spLocks/>
          </p:cNvSpPr>
          <p:nvPr userDrawn="1"/>
        </p:nvSpPr>
        <p:spPr bwMode="auto">
          <a:xfrm>
            <a:off x="10637263" y="4694446"/>
            <a:ext cx="135398" cy="205460"/>
          </a:xfrm>
          <a:custGeom>
            <a:avLst/>
            <a:gdLst>
              <a:gd name="T0" fmla="*/ 0 w 87"/>
              <a:gd name="T1" fmla="*/ 0 h 132"/>
              <a:gd name="T2" fmla="*/ 0 w 87"/>
              <a:gd name="T3" fmla="*/ 0 h 132"/>
              <a:gd name="T4" fmla="*/ 87 w 87"/>
              <a:gd name="T5" fmla="*/ 132 h 132"/>
              <a:gd name="T6" fmla="*/ 0 w 87"/>
              <a:gd name="T7" fmla="*/ 0 h 132"/>
            </a:gdLst>
            <a:ahLst/>
            <a:cxnLst>
              <a:cxn ang="0">
                <a:pos x="T0" y="T1"/>
              </a:cxn>
              <a:cxn ang="0">
                <a:pos x="T2" y="T3"/>
              </a:cxn>
              <a:cxn ang="0">
                <a:pos x="T4" y="T5"/>
              </a:cxn>
              <a:cxn ang="0">
                <a:pos x="T6" y="T7"/>
              </a:cxn>
            </a:cxnLst>
            <a:rect l="0" t="0" r="r" b="b"/>
            <a:pathLst>
              <a:path w="87" h="132">
                <a:moveTo>
                  <a:pt x="0" y="0"/>
                </a:moveTo>
                <a:lnTo>
                  <a:pt x="0" y="0"/>
                </a:lnTo>
                <a:lnTo>
                  <a:pt x="87" y="132"/>
                </a:lnTo>
                <a:lnTo>
                  <a:pt x="0" y="0"/>
                </a:lnTo>
                <a:close/>
              </a:path>
            </a:pathLst>
          </a:custGeom>
          <a:solidFill>
            <a:srgbClr val="5DB1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6" name="Freeform 9"/>
          <p:cNvSpPr>
            <a:spLocks/>
          </p:cNvSpPr>
          <p:nvPr userDrawn="1"/>
        </p:nvSpPr>
        <p:spPr bwMode="auto">
          <a:xfrm>
            <a:off x="10637263" y="4694446"/>
            <a:ext cx="135398" cy="205460"/>
          </a:xfrm>
          <a:custGeom>
            <a:avLst/>
            <a:gdLst>
              <a:gd name="T0" fmla="*/ 0 w 87"/>
              <a:gd name="T1" fmla="*/ 0 h 132"/>
              <a:gd name="T2" fmla="*/ 0 w 87"/>
              <a:gd name="T3" fmla="*/ 0 h 132"/>
              <a:gd name="T4" fmla="*/ 87 w 87"/>
              <a:gd name="T5" fmla="*/ 132 h 132"/>
              <a:gd name="T6" fmla="*/ 0 w 87"/>
              <a:gd name="T7" fmla="*/ 0 h 132"/>
            </a:gdLst>
            <a:ahLst/>
            <a:cxnLst>
              <a:cxn ang="0">
                <a:pos x="T0" y="T1"/>
              </a:cxn>
              <a:cxn ang="0">
                <a:pos x="T2" y="T3"/>
              </a:cxn>
              <a:cxn ang="0">
                <a:pos x="T4" y="T5"/>
              </a:cxn>
              <a:cxn ang="0">
                <a:pos x="T6" y="T7"/>
              </a:cxn>
            </a:cxnLst>
            <a:rect l="0" t="0" r="r" b="b"/>
            <a:pathLst>
              <a:path w="87" h="132">
                <a:moveTo>
                  <a:pt x="0" y="0"/>
                </a:moveTo>
                <a:lnTo>
                  <a:pt x="0" y="0"/>
                </a:lnTo>
                <a:lnTo>
                  <a:pt x="87" y="13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7" name="Freeform 10"/>
          <p:cNvSpPr>
            <a:spLocks/>
          </p:cNvSpPr>
          <p:nvPr userDrawn="1"/>
        </p:nvSpPr>
        <p:spPr bwMode="auto">
          <a:xfrm>
            <a:off x="8612525" y="4070285"/>
            <a:ext cx="446657" cy="600814"/>
          </a:xfrm>
          <a:custGeom>
            <a:avLst/>
            <a:gdLst>
              <a:gd name="T0" fmla="*/ 202 w 257"/>
              <a:gd name="T1" fmla="*/ 3 h 348"/>
              <a:gd name="T2" fmla="*/ 171 w 257"/>
              <a:gd name="T3" fmla="*/ 43 h 348"/>
              <a:gd name="T4" fmla="*/ 245 w 257"/>
              <a:gd name="T5" fmla="*/ 323 h 348"/>
              <a:gd name="T6" fmla="*/ 257 w 257"/>
              <a:gd name="T7" fmla="*/ 329 h 348"/>
              <a:gd name="T8" fmla="*/ 109 w 257"/>
              <a:gd name="T9" fmla="*/ 319 h 348"/>
              <a:gd name="T10" fmla="*/ 47 w 257"/>
              <a:gd name="T11" fmla="*/ 87 h 348"/>
              <a:gd name="T12" fmla="*/ 202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2" y="3"/>
                </a:moveTo>
                <a:cubicBezTo>
                  <a:pt x="190" y="15"/>
                  <a:pt x="180" y="28"/>
                  <a:pt x="171" y="43"/>
                </a:cubicBezTo>
                <a:cubicBezTo>
                  <a:pt x="114" y="141"/>
                  <a:pt x="148" y="266"/>
                  <a:pt x="245" y="323"/>
                </a:cubicBezTo>
                <a:cubicBezTo>
                  <a:pt x="249" y="325"/>
                  <a:pt x="253" y="327"/>
                  <a:pt x="257" y="329"/>
                </a:cubicBezTo>
                <a:cubicBezTo>
                  <a:pt x="210" y="348"/>
                  <a:pt x="156" y="346"/>
                  <a:pt x="109" y="319"/>
                </a:cubicBezTo>
                <a:cubicBezTo>
                  <a:pt x="28" y="272"/>
                  <a:pt x="0" y="168"/>
                  <a:pt x="47" y="87"/>
                </a:cubicBezTo>
                <a:cubicBezTo>
                  <a:pt x="80" y="31"/>
                  <a:pt x="140" y="0"/>
                  <a:pt x="202" y="3"/>
                </a:cubicBezTo>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8" name="Freeform 11"/>
          <p:cNvSpPr>
            <a:spLocks/>
          </p:cNvSpPr>
          <p:nvPr userDrawn="1"/>
        </p:nvSpPr>
        <p:spPr bwMode="auto">
          <a:xfrm>
            <a:off x="7681862" y="2404815"/>
            <a:ext cx="3103249" cy="2289632"/>
          </a:xfrm>
          <a:custGeom>
            <a:avLst/>
            <a:gdLst>
              <a:gd name="T0" fmla="*/ 0 w 1788"/>
              <a:gd name="T1" fmla="*/ 0 h 1326"/>
              <a:gd name="T2" fmla="*/ 1788 w 1788"/>
              <a:gd name="T3" fmla="*/ 0 h 1326"/>
              <a:gd name="T4" fmla="*/ 1788 w 1788"/>
              <a:gd name="T5" fmla="*/ 1326 h 1326"/>
              <a:gd name="T6" fmla="*/ 101 w 1788"/>
              <a:gd name="T7" fmla="*/ 1326 h 1326"/>
              <a:gd name="T8" fmla="*/ 0 w 1788"/>
              <a:gd name="T9" fmla="*/ 1225 h 1326"/>
              <a:gd name="T10" fmla="*/ 0 w 1788"/>
              <a:gd name="T11" fmla="*/ 0 h 1326"/>
            </a:gdLst>
            <a:ahLst/>
            <a:cxnLst>
              <a:cxn ang="0">
                <a:pos x="T0" y="T1"/>
              </a:cxn>
              <a:cxn ang="0">
                <a:pos x="T2" y="T3"/>
              </a:cxn>
              <a:cxn ang="0">
                <a:pos x="T4" y="T5"/>
              </a:cxn>
              <a:cxn ang="0">
                <a:pos x="T6" y="T7"/>
              </a:cxn>
              <a:cxn ang="0">
                <a:pos x="T8" y="T9"/>
              </a:cxn>
              <a:cxn ang="0">
                <a:pos x="T10" y="T11"/>
              </a:cxn>
            </a:cxnLst>
            <a:rect l="0" t="0" r="r" b="b"/>
            <a:pathLst>
              <a:path w="1788" h="1326">
                <a:moveTo>
                  <a:pt x="0" y="0"/>
                </a:moveTo>
                <a:cubicBezTo>
                  <a:pt x="1788" y="0"/>
                  <a:pt x="1788" y="0"/>
                  <a:pt x="1788" y="0"/>
                </a:cubicBezTo>
                <a:cubicBezTo>
                  <a:pt x="1788" y="1326"/>
                  <a:pt x="1788" y="1326"/>
                  <a:pt x="1788" y="1326"/>
                </a:cubicBezTo>
                <a:cubicBezTo>
                  <a:pt x="101" y="1326"/>
                  <a:pt x="101" y="1326"/>
                  <a:pt x="101" y="1326"/>
                </a:cubicBezTo>
                <a:cubicBezTo>
                  <a:pt x="45" y="1326"/>
                  <a:pt x="0" y="1281"/>
                  <a:pt x="0" y="1225"/>
                </a:cubicBezTo>
                <a:cubicBezTo>
                  <a:pt x="0" y="0"/>
                  <a:pt x="0" y="0"/>
                  <a:pt x="0" y="0"/>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49" name="Freeform 12"/>
          <p:cNvSpPr>
            <a:spLocks/>
          </p:cNvSpPr>
          <p:nvPr userDrawn="1"/>
        </p:nvSpPr>
        <p:spPr bwMode="auto">
          <a:xfrm>
            <a:off x="7692756" y="2490422"/>
            <a:ext cx="3002090" cy="2116859"/>
          </a:xfrm>
          <a:custGeom>
            <a:avLst/>
            <a:gdLst>
              <a:gd name="T0" fmla="*/ 1730 w 1730"/>
              <a:gd name="T1" fmla="*/ 0 h 1226"/>
              <a:gd name="T2" fmla="*/ 320 w 1730"/>
              <a:gd name="T3" fmla="*/ 0 h 1226"/>
              <a:gd name="T4" fmla="*/ 320 w 1730"/>
              <a:gd name="T5" fmla="*/ 19 h 1226"/>
              <a:gd name="T6" fmla="*/ 1711 w 1730"/>
              <a:gd name="T7" fmla="*/ 19 h 1226"/>
              <a:gd name="T8" fmla="*/ 1711 w 1730"/>
              <a:gd name="T9" fmla="*/ 1207 h 1226"/>
              <a:gd name="T10" fmla="*/ 0 w 1730"/>
              <a:gd name="T11" fmla="*/ 1207 h 1226"/>
              <a:gd name="T12" fmla="*/ 8 w 1730"/>
              <a:gd name="T13" fmla="*/ 1226 h 1226"/>
              <a:gd name="T14" fmla="*/ 1730 w 1730"/>
              <a:gd name="T15" fmla="*/ 1226 h 1226"/>
              <a:gd name="T16" fmla="*/ 1730 w 1730"/>
              <a:gd name="T17" fmla="*/ 0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0" h="1226">
                <a:moveTo>
                  <a:pt x="1730" y="0"/>
                </a:moveTo>
                <a:cubicBezTo>
                  <a:pt x="320" y="0"/>
                  <a:pt x="320" y="0"/>
                  <a:pt x="320" y="0"/>
                </a:cubicBezTo>
                <a:cubicBezTo>
                  <a:pt x="320" y="19"/>
                  <a:pt x="320" y="19"/>
                  <a:pt x="320" y="19"/>
                </a:cubicBezTo>
                <a:cubicBezTo>
                  <a:pt x="1711" y="19"/>
                  <a:pt x="1711" y="19"/>
                  <a:pt x="1711" y="19"/>
                </a:cubicBezTo>
                <a:cubicBezTo>
                  <a:pt x="1711" y="1207"/>
                  <a:pt x="1711" y="1207"/>
                  <a:pt x="1711" y="1207"/>
                </a:cubicBezTo>
                <a:cubicBezTo>
                  <a:pt x="0" y="1207"/>
                  <a:pt x="0" y="1207"/>
                  <a:pt x="0" y="1207"/>
                </a:cubicBezTo>
                <a:cubicBezTo>
                  <a:pt x="2" y="1214"/>
                  <a:pt x="5" y="1220"/>
                  <a:pt x="8" y="1226"/>
                </a:cubicBezTo>
                <a:cubicBezTo>
                  <a:pt x="1730" y="1226"/>
                  <a:pt x="1730" y="1226"/>
                  <a:pt x="1730" y="1226"/>
                </a:cubicBezTo>
                <a:cubicBezTo>
                  <a:pt x="1730" y="0"/>
                  <a:pt x="1730" y="0"/>
                  <a:pt x="1730" y="0"/>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0" name="Freeform 13"/>
          <p:cNvSpPr>
            <a:spLocks/>
          </p:cNvSpPr>
          <p:nvPr userDrawn="1"/>
        </p:nvSpPr>
        <p:spPr bwMode="auto">
          <a:xfrm>
            <a:off x="7681862" y="2404814"/>
            <a:ext cx="564935" cy="2255389"/>
          </a:xfrm>
          <a:custGeom>
            <a:avLst/>
            <a:gdLst>
              <a:gd name="T0" fmla="*/ 325 w 325"/>
              <a:gd name="T1" fmla="*/ 0 h 1307"/>
              <a:gd name="T2" fmla="*/ 325 w 325"/>
              <a:gd name="T3" fmla="*/ 1202 h 1307"/>
              <a:gd name="T4" fmla="*/ 155 w 325"/>
              <a:gd name="T5" fmla="*/ 1202 h 1307"/>
              <a:gd name="T6" fmla="*/ 43 w 325"/>
              <a:gd name="T7" fmla="*/ 1307 h 1307"/>
              <a:gd name="T8" fmla="*/ 1 w 325"/>
              <a:gd name="T9" fmla="*/ 1235 h 1307"/>
              <a:gd name="T10" fmla="*/ 0 w 325"/>
              <a:gd name="T11" fmla="*/ 0 h 1307"/>
              <a:gd name="T12" fmla="*/ 325 w 325"/>
              <a:gd name="T13" fmla="*/ 0 h 1307"/>
            </a:gdLst>
            <a:ahLst/>
            <a:cxnLst>
              <a:cxn ang="0">
                <a:pos x="T0" y="T1"/>
              </a:cxn>
              <a:cxn ang="0">
                <a:pos x="T2" y="T3"/>
              </a:cxn>
              <a:cxn ang="0">
                <a:pos x="T4" y="T5"/>
              </a:cxn>
              <a:cxn ang="0">
                <a:pos x="T6" y="T7"/>
              </a:cxn>
              <a:cxn ang="0">
                <a:pos x="T8" y="T9"/>
              </a:cxn>
              <a:cxn ang="0">
                <a:pos x="T10" y="T11"/>
              </a:cxn>
              <a:cxn ang="0">
                <a:pos x="T12" y="T13"/>
              </a:cxn>
            </a:cxnLst>
            <a:rect l="0" t="0" r="r" b="b"/>
            <a:pathLst>
              <a:path w="325" h="1307">
                <a:moveTo>
                  <a:pt x="325" y="0"/>
                </a:moveTo>
                <a:cubicBezTo>
                  <a:pt x="325" y="1202"/>
                  <a:pt x="325" y="1202"/>
                  <a:pt x="325" y="1202"/>
                </a:cubicBezTo>
                <a:cubicBezTo>
                  <a:pt x="155" y="1202"/>
                  <a:pt x="155" y="1202"/>
                  <a:pt x="155" y="1202"/>
                </a:cubicBezTo>
                <a:cubicBezTo>
                  <a:pt x="93" y="1202"/>
                  <a:pt x="43" y="1245"/>
                  <a:pt x="43" y="1307"/>
                </a:cubicBezTo>
                <a:cubicBezTo>
                  <a:pt x="43" y="1307"/>
                  <a:pt x="1" y="1281"/>
                  <a:pt x="1" y="1235"/>
                </a:cubicBezTo>
                <a:cubicBezTo>
                  <a:pt x="1" y="1103"/>
                  <a:pt x="0" y="0"/>
                  <a:pt x="0" y="0"/>
                </a:cubicBezTo>
                <a:lnTo>
                  <a:pt x="325" y="0"/>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1" name="Freeform 14"/>
          <p:cNvSpPr>
            <a:spLocks/>
          </p:cNvSpPr>
          <p:nvPr userDrawn="1"/>
        </p:nvSpPr>
        <p:spPr bwMode="auto">
          <a:xfrm>
            <a:off x="7681862" y="2191572"/>
            <a:ext cx="404636" cy="2337884"/>
          </a:xfrm>
          <a:custGeom>
            <a:avLst/>
            <a:gdLst>
              <a:gd name="T0" fmla="*/ 112 w 233"/>
              <a:gd name="T1" fmla="*/ 0 h 1354"/>
              <a:gd name="T2" fmla="*/ 0 w 233"/>
              <a:gd name="T3" fmla="*/ 112 h 1354"/>
              <a:gd name="T4" fmla="*/ 0 w 233"/>
              <a:gd name="T5" fmla="*/ 1354 h 1354"/>
              <a:gd name="T6" fmla="*/ 1 w 233"/>
              <a:gd name="T7" fmla="*/ 1354 h 1354"/>
              <a:gd name="T8" fmla="*/ 112 w 233"/>
              <a:gd name="T9" fmla="*/ 1251 h 1354"/>
              <a:gd name="T10" fmla="*/ 233 w 233"/>
              <a:gd name="T11" fmla="*/ 1251 h 1354"/>
              <a:gd name="T12" fmla="*/ 233 w 233"/>
              <a:gd name="T13" fmla="*/ 0 h 1354"/>
              <a:gd name="T14" fmla="*/ 112 w 233"/>
              <a:gd name="T15" fmla="*/ 0 h 13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1354">
                <a:moveTo>
                  <a:pt x="112" y="0"/>
                </a:moveTo>
                <a:cubicBezTo>
                  <a:pt x="50" y="0"/>
                  <a:pt x="0" y="50"/>
                  <a:pt x="0" y="112"/>
                </a:cubicBezTo>
                <a:cubicBezTo>
                  <a:pt x="0" y="1354"/>
                  <a:pt x="0" y="1354"/>
                  <a:pt x="0" y="1354"/>
                </a:cubicBezTo>
                <a:cubicBezTo>
                  <a:pt x="1" y="1354"/>
                  <a:pt x="1" y="1354"/>
                  <a:pt x="1" y="1354"/>
                </a:cubicBezTo>
                <a:cubicBezTo>
                  <a:pt x="5" y="1296"/>
                  <a:pt x="53" y="1251"/>
                  <a:pt x="112" y="1251"/>
                </a:cubicBezTo>
                <a:cubicBezTo>
                  <a:pt x="233" y="1251"/>
                  <a:pt x="233" y="1251"/>
                  <a:pt x="233" y="1251"/>
                </a:cubicBezTo>
                <a:cubicBezTo>
                  <a:pt x="233" y="0"/>
                  <a:pt x="233" y="0"/>
                  <a:pt x="233" y="0"/>
                </a:cubicBezTo>
                <a:lnTo>
                  <a:pt x="112" y="0"/>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2" name="Freeform 15"/>
          <p:cNvSpPr>
            <a:spLocks noEditPoints="1"/>
          </p:cNvSpPr>
          <p:nvPr userDrawn="1"/>
        </p:nvSpPr>
        <p:spPr bwMode="auto">
          <a:xfrm>
            <a:off x="8816400" y="2635179"/>
            <a:ext cx="1195233" cy="1819565"/>
          </a:xfrm>
          <a:custGeom>
            <a:avLst/>
            <a:gdLst>
              <a:gd name="T0" fmla="*/ 597 w 689"/>
              <a:gd name="T1" fmla="*/ 579 h 1054"/>
              <a:gd name="T2" fmla="*/ 624 w 689"/>
              <a:gd name="T3" fmla="*/ 548 h 1054"/>
              <a:gd name="T4" fmla="*/ 689 w 689"/>
              <a:gd name="T5" fmla="*/ 345 h 1054"/>
              <a:gd name="T6" fmla="*/ 0 w 689"/>
              <a:gd name="T7" fmla="*/ 345 h 1054"/>
              <a:gd name="T8" fmla="*/ 66 w 689"/>
              <a:gd name="T9" fmla="*/ 548 h 1054"/>
              <a:gd name="T10" fmla="*/ 93 w 689"/>
              <a:gd name="T11" fmla="*/ 579 h 1054"/>
              <a:gd name="T12" fmla="*/ 159 w 689"/>
              <a:gd name="T13" fmla="*/ 791 h 1054"/>
              <a:gd name="T14" fmla="*/ 171 w 689"/>
              <a:gd name="T15" fmla="*/ 834 h 1054"/>
              <a:gd name="T16" fmla="*/ 159 w 689"/>
              <a:gd name="T17" fmla="*/ 877 h 1054"/>
              <a:gd name="T18" fmla="*/ 159 w 689"/>
              <a:gd name="T19" fmla="*/ 918 h 1054"/>
              <a:gd name="T20" fmla="*/ 184 w 689"/>
              <a:gd name="T21" fmla="*/ 965 h 1054"/>
              <a:gd name="T22" fmla="*/ 345 w 689"/>
              <a:gd name="T23" fmla="*/ 1054 h 1054"/>
              <a:gd name="T24" fmla="*/ 506 w 689"/>
              <a:gd name="T25" fmla="*/ 965 h 1054"/>
              <a:gd name="T26" fmla="*/ 530 w 689"/>
              <a:gd name="T27" fmla="*/ 918 h 1054"/>
              <a:gd name="T28" fmla="*/ 530 w 689"/>
              <a:gd name="T29" fmla="*/ 877 h 1054"/>
              <a:gd name="T30" fmla="*/ 519 w 689"/>
              <a:gd name="T31" fmla="*/ 834 h 1054"/>
              <a:gd name="T32" fmla="*/ 530 w 689"/>
              <a:gd name="T33" fmla="*/ 791 h 1054"/>
              <a:gd name="T34" fmla="*/ 675 w 689"/>
              <a:gd name="T35" fmla="*/ 345 h 1054"/>
              <a:gd name="T36" fmla="*/ 606 w 689"/>
              <a:gd name="T37" fmla="*/ 546 h 1054"/>
              <a:gd name="T38" fmla="*/ 586 w 689"/>
              <a:gd name="T39" fmla="*/ 570 h 1054"/>
              <a:gd name="T40" fmla="*/ 442 w 689"/>
              <a:gd name="T41" fmla="*/ 767 h 1054"/>
              <a:gd name="T42" fmla="*/ 551 w 689"/>
              <a:gd name="T43" fmla="*/ 555 h 1054"/>
              <a:gd name="T44" fmla="*/ 556 w 689"/>
              <a:gd name="T45" fmla="*/ 549 h 1054"/>
              <a:gd name="T46" fmla="*/ 616 w 689"/>
              <a:gd name="T47" fmla="*/ 412 h 1054"/>
              <a:gd name="T48" fmla="*/ 630 w 689"/>
              <a:gd name="T49" fmla="*/ 398 h 1054"/>
              <a:gd name="T50" fmla="*/ 623 w 689"/>
              <a:gd name="T51" fmla="*/ 345 h 1054"/>
              <a:gd name="T52" fmla="*/ 382 w 689"/>
              <a:gd name="T53" fmla="*/ 16 h 1054"/>
              <a:gd name="T54" fmla="*/ 103 w 689"/>
              <a:gd name="T55" fmla="*/ 570 h 1054"/>
              <a:gd name="T56" fmla="*/ 83 w 689"/>
              <a:gd name="T57" fmla="*/ 546 h 1054"/>
              <a:gd name="T58" fmla="*/ 312 w 689"/>
              <a:gd name="T59" fmla="*/ 16 h 1054"/>
              <a:gd name="T60" fmla="*/ 609 w 689"/>
              <a:gd name="T61" fmla="*/ 345 h 1054"/>
              <a:gd name="T62" fmla="*/ 540 w 689"/>
              <a:gd name="T63" fmla="*/ 546 h 1054"/>
              <a:gd name="T64" fmla="*/ 520 w 689"/>
              <a:gd name="T65" fmla="*/ 570 h 1054"/>
              <a:gd name="T66" fmla="*/ 195 w 689"/>
              <a:gd name="T67" fmla="*/ 767 h 1054"/>
              <a:gd name="T68" fmla="*/ 173 w 689"/>
              <a:gd name="T69" fmla="*/ 791 h 1054"/>
              <a:gd name="T70" fmla="*/ 506 w 689"/>
              <a:gd name="T71" fmla="*/ 781 h 1054"/>
              <a:gd name="T72" fmla="*/ 516 w 689"/>
              <a:gd name="T73" fmla="*/ 813 h 1054"/>
              <a:gd name="T74" fmla="*/ 184 w 689"/>
              <a:gd name="T75" fmla="*/ 823 h 1054"/>
              <a:gd name="T76" fmla="*/ 173 w 689"/>
              <a:gd name="T77" fmla="*/ 791 h 1054"/>
              <a:gd name="T78" fmla="*/ 516 w 689"/>
              <a:gd name="T79" fmla="*/ 855 h 1054"/>
              <a:gd name="T80" fmla="*/ 506 w 689"/>
              <a:gd name="T81" fmla="*/ 887 h 1054"/>
              <a:gd name="T82" fmla="*/ 173 w 689"/>
              <a:gd name="T83" fmla="*/ 877 h 1054"/>
              <a:gd name="T84" fmla="*/ 184 w 689"/>
              <a:gd name="T85" fmla="*/ 844 h 1054"/>
              <a:gd name="T86" fmla="*/ 345 w 689"/>
              <a:gd name="T87" fmla="*/ 1040 h 1054"/>
              <a:gd name="T88" fmla="*/ 463 w 689"/>
              <a:gd name="T89" fmla="*/ 965 h 1054"/>
              <a:gd name="T90" fmla="*/ 516 w 689"/>
              <a:gd name="T91" fmla="*/ 940 h 1054"/>
              <a:gd name="T92" fmla="*/ 184 w 689"/>
              <a:gd name="T93" fmla="*/ 951 h 1054"/>
              <a:gd name="T94" fmla="*/ 173 w 689"/>
              <a:gd name="T95" fmla="*/ 918 h 1054"/>
              <a:gd name="T96" fmla="*/ 506 w 689"/>
              <a:gd name="T97" fmla="*/ 908 h 1054"/>
              <a:gd name="T98" fmla="*/ 516 w 689"/>
              <a:gd name="T99" fmla="*/ 940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9" h="1054">
                <a:moveTo>
                  <a:pt x="509" y="767"/>
                </a:moveTo>
                <a:cubicBezTo>
                  <a:pt x="514" y="693"/>
                  <a:pt x="566" y="618"/>
                  <a:pt x="597" y="579"/>
                </a:cubicBezTo>
                <a:cubicBezTo>
                  <a:pt x="604" y="571"/>
                  <a:pt x="611" y="563"/>
                  <a:pt x="617" y="555"/>
                </a:cubicBezTo>
                <a:cubicBezTo>
                  <a:pt x="624" y="548"/>
                  <a:pt x="624" y="548"/>
                  <a:pt x="624" y="548"/>
                </a:cubicBezTo>
                <a:cubicBezTo>
                  <a:pt x="623" y="548"/>
                  <a:pt x="623" y="548"/>
                  <a:pt x="623" y="548"/>
                </a:cubicBezTo>
                <a:cubicBezTo>
                  <a:pt x="666" y="488"/>
                  <a:pt x="689" y="418"/>
                  <a:pt x="689" y="345"/>
                </a:cubicBezTo>
                <a:cubicBezTo>
                  <a:pt x="689" y="155"/>
                  <a:pt x="535" y="0"/>
                  <a:pt x="345" y="0"/>
                </a:cubicBezTo>
                <a:cubicBezTo>
                  <a:pt x="155" y="0"/>
                  <a:pt x="0" y="155"/>
                  <a:pt x="0" y="345"/>
                </a:cubicBezTo>
                <a:cubicBezTo>
                  <a:pt x="0" y="418"/>
                  <a:pt x="23" y="488"/>
                  <a:pt x="67" y="547"/>
                </a:cubicBezTo>
                <a:cubicBezTo>
                  <a:pt x="66" y="548"/>
                  <a:pt x="66" y="548"/>
                  <a:pt x="66" y="548"/>
                </a:cubicBezTo>
                <a:cubicBezTo>
                  <a:pt x="72" y="555"/>
                  <a:pt x="72" y="555"/>
                  <a:pt x="72" y="555"/>
                </a:cubicBezTo>
                <a:cubicBezTo>
                  <a:pt x="79" y="563"/>
                  <a:pt x="85" y="571"/>
                  <a:pt x="93" y="579"/>
                </a:cubicBezTo>
                <a:cubicBezTo>
                  <a:pt x="123" y="618"/>
                  <a:pt x="175" y="693"/>
                  <a:pt x="181" y="767"/>
                </a:cubicBezTo>
                <a:cubicBezTo>
                  <a:pt x="165" y="768"/>
                  <a:pt x="159" y="782"/>
                  <a:pt x="159" y="791"/>
                </a:cubicBezTo>
                <a:cubicBezTo>
                  <a:pt x="159" y="813"/>
                  <a:pt x="159" y="813"/>
                  <a:pt x="159" y="813"/>
                </a:cubicBezTo>
                <a:cubicBezTo>
                  <a:pt x="159" y="824"/>
                  <a:pt x="164" y="830"/>
                  <a:pt x="171" y="834"/>
                </a:cubicBezTo>
                <a:cubicBezTo>
                  <a:pt x="163" y="839"/>
                  <a:pt x="159" y="848"/>
                  <a:pt x="159" y="855"/>
                </a:cubicBezTo>
                <a:cubicBezTo>
                  <a:pt x="159" y="877"/>
                  <a:pt x="159" y="877"/>
                  <a:pt x="159" y="877"/>
                </a:cubicBezTo>
                <a:cubicBezTo>
                  <a:pt x="159" y="887"/>
                  <a:pt x="164" y="894"/>
                  <a:pt x="171" y="897"/>
                </a:cubicBezTo>
                <a:cubicBezTo>
                  <a:pt x="163" y="902"/>
                  <a:pt x="159" y="911"/>
                  <a:pt x="159" y="918"/>
                </a:cubicBezTo>
                <a:cubicBezTo>
                  <a:pt x="159" y="940"/>
                  <a:pt x="159" y="940"/>
                  <a:pt x="159" y="940"/>
                </a:cubicBezTo>
                <a:cubicBezTo>
                  <a:pt x="159" y="958"/>
                  <a:pt x="174" y="965"/>
                  <a:pt x="184" y="965"/>
                </a:cubicBezTo>
                <a:cubicBezTo>
                  <a:pt x="212" y="965"/>
                  <a:pt x="212" y="965"/>
                  <a:pt x="212" y="965"/>
                </a:cubicBezTo>
                <a:cubicBezTo>
                  <a:pt x="226" y="1022"/>
                  <a:pt x="273" y="1054"/>
                  <a:pt x="345" y="1054"/>
                </a:cubicBezTo>
                <a:cubicBezTo>
                  <a:pt x="417" y="1054"/>
                  <a:pt x="464" y="1022"/>
                  <a:pt x="478" y="965"/>
                </a:cubicBezTo>
                <a:cubicBezTo>
                  <a:pt x="506" y="965"/>
                  <a:pt x="506" y="965"/>
                  <a:pt x="506" y="965"/>
                </a:cubicBezTo>
                <a:cubicBezTo>
                  <a:pt x="524" y="965"/>
                  <a:pt x="530" y="950"/>
                  <a:pt x="530" y="940"/>
                </a:cubicBezTo>
                <a:cubicBezTo>
                  <a:pt x="530" y="918"/>
                  <a:pt x="530" y="918"/>
                  <a:pt x="530" y="918"/>
                </a:cubicBezTo>
                <a:cubicBezTo>
                  <a:pt x="530" y="908"/>
                  <a:pt x="525" y="901"/>
                  <a:pt x="519" y="898"/>
                </a:cubicBezTo>
                <a:cubicBezTo>
                  <a:pt x="527" y="893"/>
                  <a:pt x="530" y="883"/>
                  <a:pt x="530" y="877"/>
                </a:cubicBezTo>
                <a:cubicBezTo>
                  <a:pt x="530" y="855"/>
                  <a:pt x="530" y="855"/>
                  <a:pt x="530" y="855"/>
                </a:cubicBezTo>
                <a:cubicBezTo>
                  <a:pt x="530" y="844"/>
                  <a:pt x="525" y="838"/>
                  <a:pt x="519" y="834"/>
                </a:cubicBezTo>
                <a:cubicBezTo>
                  <a:pt x="527" y="829"/>
                  <a:pt x="530" y="820"/>
                  <a:pt x="530" y="813"/>
                </a:cubicBezTo>
                <a:cubicBezTo>
                  <a:pt x="530" y="791"/>
                  <a:pt x="530" y="791"/>
                  <a:pt x="530" y="791"/>
                </a:cubicBezTo>
                <a:cubicBezTo>
                  <a:pt x="530" y="775"/>
                  <a:pt x="518" y="768"/>
                  <a:pt x="509" y="767"/>
                </a:cubicBezTo>
                <a:close/>
                <a:moveTo>
                  <a:pt x="675" y="345"/>
                </a:moveTo>
                <a:cubicBezTo>
                  <a:pt x="675" y="418"/>
                  <a:pt x="652" y="487"/>
                  <a:pt x="607" y="546"/>
                </a:cubicBezTo>
                <a:cubicBezTo>
                  <a:pt x="606" y="546"/>
                  <a:pt x="606" y="546"/>
                  <a:pt x="606" y="546"/>
                </a:cubicBezTo>
                <a:cubicBezTo>
                  <a:pt x="600" y="554"/>
                  <a:pt x="594" y="562"/>
                  <a:pt x="587" y="570"/>
                </a:cubicBezTo>
                <a:cubicBezTo>
                  <a:pt x="586" y="570"/>
                  <a:pt x="586" y="570"/>
                  <a:pt x="586" y="570"/>
                </a:cubicBezTo>
                <a:cubicBezTo>
                  <a:pt x="554" y="610"/>
                  <a:pt x="500" y="689"/>
                  <a:pt x="495" y="767"/>
                </a:cubicBezTo>
                <a:cubicBezTo>
                  <a:pt x="442" y="767"/>
                  <a:pt x="442" y="767"/>
                  <a:pt x="442" y="767"/>
                </a:cubicBezTo>
                <a:cubicBezTo>
                  <a:pt x="448" y="693"/>
                  <a:pt x="499" y="618"/>
                  <a:pt x="530" y="579"/>
                </a:cubicBezTo>
                <a:cubicBezTo>
                  <a:pt x="537" y="571"/>
                  <a:pt x="544" y="563"/>
                  <a:pt x="551" y="555"/>
                </a:cubicBezTo>
                <a:cubicBezTo>
                  <a:pt x="551" y="555"/>
                  <a:pt x="551" y="554"/>
                  <a:pt x="551" y="554"/>
                </a:cubicBezTo>
                <a:cubicBezTo>
                  <a:pt x="556" y="549"/>
                  <a:pt x="556" y="549"/>
                  <a:pt x="556" y="549"/>
                </a:cubicBezTo>
                <a:cubicBezTo>
                  <a:pt x="555" y="549"/>
                  <a:pt x="555" y="549"/>
                  <a:pt x="555" y="549"/>
                </a:cubicBezTo>
                <a:cubicBezTo>
                  <a:pt x="586" y="508"/>
                  <a:pt x="606" y="461"/>
                  <a:pt x="616" y="412"/>
                </a:cubicBezTo>
                <a:cubicBezTo>
                  <a:pt x="630" y="412"/>
                  <a:pt x="630" y="412"/>
                  <a:pt x="630" y="412"/>
                </a:cubicBezTo>
                <a:cubicBezTo>
                  <a:pt x="630" y="398"/>
                  <a:pt x="630" y="398"/>
                  <a:pt x="630" y="398"/>
                </a:cubicBezTo>
                <a:cubicBezTo>
                  <a:pt x="619" y="398"/>
                  <a:pt x="619" y="398"/>
                  <a:pt x="619" y="398"/>
                </a:cubicBezTo>
                <a:cubicBezTo>
                  <a:pt x="621" y="380"/>
                  <a:pt x="623" y="363"/>
                  <a:pt x="623" y="345"/>
                </a:cubicBezTo>
                <a:cubicBezTo>
                  <a:pt x="623" y="259"/>
                  <a:pt x="591" y="176"/>
                  <a:pt x="533" y="113"/>
                </a:cubicBezTo>
                <a:cubicBezTo>
                  <a:pt x="492" y="67"/>
                  <a:pt x="440" y="35"/>
                  <a:pt x="382" y="16"/>
                </a:cubicBezTo>
                <a:cubicBezTo>
                  <a:pt x="547" y="35"/>
                  <a:pt x="675" y="175"/>
                  <a:pt x="675" y="345"/>
                </a:cubicBezTo>
                <a:close/>
                <a:moveTo>
                  <a:pt x="103" y="570"/>
                </a:moveTo>
                <a:cubicBezTo>
                  <a:pt x="96" y="562"/>
                  <a:pt x="89" y="554"/>
                  <a:pt x="83" y="546"/>
                </a:cubicBezTo>
                <a:cubicBezTo>
                  <a:pt x="83" y="546"/>
                  <a:pt x="83" y="546"/>
                  <a:pt x="83" y="546"/>
                </a:cubicBezTo>
                <a:cubicBezTo>
                  <a:pt x="38" y="487"/>
                  <a:pt x="14" y="418"/>
                  <a:pt x="14" y="345"/>
                </a:cubicBezTo>
                <a:cubicBezTo>
                  <a:pt x="14" y="174"/>
                  <a:pt x="145" y="33"/>
                  <a:pt x="312" y="16"/>
                </a:cubicBezTo>
                <a:cubicBezTo>
                  <a:pt x="392" y="24"/>
                  <a:pt x="467" y="62"/>
                  <a:pt x="522" y="122"/>
                </a:cubicBezTo>
                <a:cubicBezTo>
                  <a:pt x="578" y="183"/>
                  <a:pt x="609" y="262"/>
                  <a:pt x="609" y="345"/>
                </a:cubicBezTo>
                <a:cubicBezTo>
                  <a:pt x="609" y="418"/>
                  <a:pt x="585" y="487"/>
                  <a:pt x="541" y="546"/>
                </a:cubicBezTo>
                <a:cubicBezTo>
                  <a:pt x="540" y="546"/>
                  <a:pt x="540" y="546"/>
                  <a:pt x="540" y="546"/>
                </a:cubicBezTo>
                <a:cubicBezTo>
                  <a:pt x="534" y="554"/>
                  <a:pt x="527" y="562"/>
                  <a:pt x="520" y="570"/>
                </a:cubicBezTo>
                <a:cubicBezTo>
                  <a:pt x="520" y="570"/>
                  <a:pt x="520" y="570"/>
                  <a:pt x="520" y="570"/>
                </a:cubicBezTo>
                <a:cubicBezTo>
                  <a:pt x="487" y="611"/>
                  <a:pt x="434" y="689"/>
                  <a:pt x="428" y="767"/>
                </a:cubicBezTo>
                <a:cubicBezTo>
                  <a:pt x="195" y="767"/>
                  <a:pt x="195" y="767"/>
                  <a:pt x="195" y="767"/>
                </a:cubicBezTo>
                <a:cubicBezTo>
                  <a:pt x="189" y="689"/>
                  <a:pt x="135" y="610"/>
                  <a:pt x="103" y="570"/>
                </a:cubicBezTo>
                <a:close/>
                <a:moveTo>
                  <a:pt x="173" y="791"/>
                </a:moveTo>
                <a:cubicBezTo>
                  <a:pt x="173" y="789"/>
                  <a:pt x="174" y="781"/>
                  <a:pt x="184" y="781"/>
                </a:cubicBezTo>
                <a:cubicBezTo>
                  <a:pt x="506" y="781"/>
                  <a:pt x="506" y="781"/>
                  <a:pt x="506" y="781"/>
                </a:cubicBezTo>
                <a:cubicBezTo>
                  <a:pt x="508" y="781"/>
                  <a:pt x="516" y="781"/>
                  <a:pt x="516" y="791"/>
                </a:cubicBezTo>
                <a:cubicBezTo>
                  <a:pt x="516" y="813"/>
                  <a:pt x="516" y="813"/>
                  <a:pt x="516" y="813"/>
                </a:cubicBezTo>
                <a:cubicBezTo>
                  <a:pt x="516" y="816"/>
                  <a:pt x="515" y="823"/>
                  <a:pt x="506" y="823"/>
                </a:cubicBezTo>
                <a:cubicBezTo>
                  <a:pt x="184" y="823"/>
                  <a:pt x="184" y="823"/>
                  <a:pt x="184" y="823"/>
                </a:cubicBezTo>
                <a:cubicBezTo>
                  <a:pt x="182" y="823"/>
                  <a:pt x="173" y="823"/>
                  <a:pt x="173" y="813"/>
                </a:cubicBezTo>
                <a:lnTo>
                  <a:pt x="173" y="791"/>
                </a:lnTo>
                <a:close/>
                <a:moveTo>
                  <a:pt x="506" y="844"/>
                </a:moveTo>
                <a:cubicBezTo>
                  <a:pt x="509" y="844"/>
                  <a:pt x="516" y="845"/>
                  <a:pt x="516" y="855"/>
                </a:cubicBezTo>
                <a:cubicBezTo>
                  <a:pt x="516" y="877"/>
                  <a:pt x="516" y="877"/>
                  <a:pt x="516" y="877"/>
                </a:cubicBezTo>
                <a:cubicBezTo>
                  <a:pt x="516" y="878"/>
                  <a:pt x="516" y="887"/>
                  <a:pt x="506" y="887"/>
                </a:cubicBezTo>
                <a:cubicBezTo>
                  <a:pt x="184" y="887"/>
                  <a:pt x="184" y="887"/>
                  <a:pt x="184" y="887"/>
                </a:cubicBezTo>
                <a:cubicBezTo>
                  <a:pt x="182" y="887"/>
                  <a:pt x="173" y="887"/>
                  <a:pt x="173" y="877"/>
                </a:cubicBezTo>
                <a:cubicBezTo>
                  <a:pt x="173" y="855"/>
                  <a:pt x="173" y="855"/>
                  <a:pt x="173" y="855"/>
                </a:cubicBezTo>
                <a:cubicBezTo>
                  <a:pt x="173" y="852"/>
                  <a:pt x="174" y="844"/>
                  <a:pt x="184" y="844"/>
                </a:cubicBezTo>
                <a:lnTo>
                  <a:pt x="506" y="844"/>
                </a:lnTo>
                <a:close/>
                <a:moveTo>
                  <a:pt x="345" y="1040"/>
                </a:moveTo>
                <a:cubicBezTo>
                  <a:pt x="280" y="1040"/>
                  <a:pt x="240" y="1014"/>
                  <a:pt x="226" y="965"/>
                </a:cubicBezTo>
                <a:cubicBezTo>
                  <a:pt x="463" y="965"/>
                  <a:pt x="463" y="965"/>
                  <a:pt x="463" y="965"/>
                </a:cubicBezTo>
                <a:cubicBezTo>
                  <a:pt x="450" y="1014"/>
                  <a:pt x="409" y="1040"/>
                  <a:pt x="345" y="1040"/>
                </a:cubicBezTo>
                <a:close/>
                <a:moveTo>
                  <a:pt x="516" y="940"/>
                </a:moveTo>
                <a:cubicBezTo>
                  <a:pt x="516" y="942"/>
                  <a:pt x="516" y="951"/>
                  <a:pt x="506" y="951"/>
                </a:cubicBezTo>
                <a:cubicBezTo>
                  <a:pt x="184" y="951"/>
                  <a:pt x="184" y="951"/>
                  <a:pt x="184" y="951"/>
                </a:cubicBezTo>
                <a:cubicBezTo>
                  <a:pt x="182" y="951"/>
                  <a:pt x="173" y="950"/>
                  <a:pt x="173" y="940"/>
                </a:cubicBezTo>
                <a:cubicBezTo>
                  <a:pt x="173" y="918"/>
                  <a:pt x="173" y="918"/>
                  <a:pt x="173" y="918"/>
                </a:cubicBezTo>
                <a:cubicBezTo>
                  <a:pt x="173" y="917"/>
                  <a:pt x="174" y="908"/>
                  <a:pt x="184" y="908"/>
                </a:cubicBezTo>
                <a:cubicBezTo>
                  <a:pt x="506" y="908"/>
                  <a:pt x="506" y="908"/>
                  <a:pt x="506" y="908"/>
                </a:cubicBezTo>
                <a:cubicBezTo>
                  <a:pt x="508" y="908"/>
                  <a:pt x="516" y="908"/>
                  <a:pt x="516" y="918"/>
                </a:cubicBezTo>
                <a:lnTo>
                  <a:pt x="516" y="94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3" name="Rectangle 16"/>
          <p:cNvSpPr>
            <a:spLocks noChangeArrowheads="1"/>
          </p:cNvSpPr>
          <p:nvPr userDrawn="1"/>
        </p:nvSpPr>
        <p:spPr bwMode="auto">
          <a:xfrm>
            <a:off x="9809315" y="3998685"/>
            <a:ext cx="155629" cy="2334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4" name="Rectangle 17"/>
          <p:cNvSpPr>
            <a:spLocks noChangeArrowheads="1"/>
          </p:cNvSpPr>
          <p:nvPr userDrawn="1"/>
        </p:nvSpPr>
        <p:spPr bwMode="auto">
          <a:xfrm>
            <a:off x="9874679" y="4118536"/>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5" name="Rectangle 18"/>
          <p:cNvSpPr>
            <a:spLocks noChangeArrowheads="1"/>
          </p:cNvSpPr>
          <p:nvPr userDrawn="1"/>
        </p:nvSpPr>
        <p:spPr bwMode="auto">
          <a:xfrm>
            <a:off x="9874679" y="4182353"/>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6" name="Rectangle 19"/>
          <p:cNvSpPr>
            <a:spLocks noChangeArrowheads="1"/>
          </p:cNvSpPr>
          <p:nvPr userDrawn="1"/>
        </p:nvSpPr>
        <p:spPr bwMode="auto">
          <a:xfrm>
            <a:off x="9874679" y="4053162"/>
            <a:ext cx="24901" cy="32687"/>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7" name="Rectangle 20"/>
          <p:cNvSpPr>
            <a:spLocks noChangeArrowheads="1"/>
          </p:cNvSpPr>
          <p:nvPr userDrawn="1"/>
        </p:nvSpPr>
        <p:spPr bwMode="auto">
          <a:xfrm>
            <a:off x="9874679" y="4246170"/>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8" name="Rectangle 21"/>
          <p:cNvSpPr>
            <a:spLocks noChangeArrowheads="1"/>
          </p:cNvSpPr>
          <p:nvPr userDrawn="1"/>
        </p:nvSpPr>
        <p:spPr bwMode="auto">
          <a:xfrm>
            <a:off x="9874679" y="4373804"/>
            <a:ext cx="24901" cy="32687"/>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59" name="Rectangle 22"/>
          <p:cNvSpPr>
            <a:spLocks noChangeArrowheads="1"/>
          </p:cNvSpPr>
          <p:nvPr userDrawn="1"/>
        </p:nvSpPr>
        <p:spPr bwMode="auto">
          <a:xfrm>
            <a:off x="9874679" y="4309987"/>
            <a:ext cx="24901" cy="32687"/>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0" name="Rectangle 23"/>
          <p:cNvSpPr>
            <a:spLocks noChangeArrowheads="1"/>
          </p:cNvSpPr>
          <p:nvPr userDrawn="1"/>
        </p:nvSpPr>
        <p:spPr bwMode="auto">
          <a:xfrm>
            <a:off x="9809315" y="4437622"/>
            <a:ext cx="155629" cy="24904"/>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1" name="Rectangle 24"/>
          <p:cNvSpPr>
            <a:spLocks noChangeArrowheads="1"/>
          </p:cNvSpPr>
          <p:nvPr userDrawn="1"/>
        </p:nvSpPr>
        <p:spPr bwMode="auto">
          <a:xfrm>
            <a:off x="8433552" y="2786160"/>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2" name="Rectangle 25"/>
          <p:cNvSpPr>
            <a:spLocks noChangeArrowheads="1"/>
          </p:cNvSpPr>
          <p:nvPr userDrawn="1"/>
        </p:nvSpPr>
        <p:spPr bwMode="auto">
          <a:xfrm>
            <a:off x="8433552" y="3467913"/>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3" name="Rectangle 26"/>
          <p:cNvSpPr>
            <a:spLocks noChangeArrowheads="1"/>
          </p:cNvSpPr>
          <p:nvPr userDrawn="1"/>
        </p:nvSpPr>
        <p:spPr bwMode="auto">
          <a:xfrm>
            <a:off x="8433552" y="3281131"/>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4" name="Rectangle 27"/>
          <p:cNvSpPr>
            <a:spLocks noChangeArrowheads="1"/>
          </p:cNvSpPr>
          <p:nvPr userDrawn="1"/>
        </p:nvSpPr>
        <p:spPr bwMode="auto">
          <a:xfrm>
            <a:off x="8433552" y="3405652"/>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5" name="Rectangle 28"/>
          <p:cNvSpPr>
            <a:spLocks noChangeArrowheads="1"/>
          </p:cNvSpPr>
          <p:nvPr userDrawn="1"/>
        </p:nvSpPr>
        <p:spPr bwMode="auto">
          <a:xfrm>
            <a:off x="8433552" y="3343392"/>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6" name="Rectangle 29"/>
          <p:cNvSpPr>
            <a:spLocks noChangeArrowheads="1"/>
          </p:cNvSpPr>
          <p:nvPr userDrawn="1"/>
        </p:nvSpPr>
        <p:spPr bwMode="auto">
          <a:xfrm>
            <a:off x="8433552" y="3220428"/>
            <a:ext cx="24901" cy="29574"/>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7" name="Rectangle 30"/>
          <p:cNvSpPr>
            <a:spLocks noChangeArrowheads="1"/>
          </p:cNvSpPr>
          <p:nvPr userDrawn="1"/>
        </p:nvSpPr>
        <p:spPr bwMode="auto">
          <a:xfrm>
            <a:off x="8433552" y="2972942"/>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8" name="Rectangle 31"/>
          <p:cNvSpPr>
            <a:spLocks noChangeArrowheads="1"/>
          </p:cNvSpPr>
          <p:nvPr userDrawn="1"/>
        </p:nvSpPr>
        <p:spPr bwMode="auto">
          <a:xfrm>
            <a:off x="8433552" y="2848420"/>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69" name="Rectangle 32"/>
          <p:cNvSpPr>
            <a:spLocks noChangeArrowheads="1"/>
          </p:cNvSpPr>
          <p:nvPr userDrawn="1"/>
        </p:nvSpPr>
        <p:spPr bwMode="auto">
          <a:xfrm>
            <a:off x="8433552" y="3158167"/>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0" name="Rectangle 33"/>
          <p:cNvSpPr>
            <a:spLocks noChangeArrowheads="1"/>
          </p:cNvSpPr>
          <p:nvPr userDrawn="1"/>
        </p:nvSpPr>
        <p:spPr bwMode="auto">
          <a:xfrm>
            <a:off x="8433552" y="2910681"/>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1" name="Rectangle 34"/>
          <p:cNvSpPr>
            <a:spLocks noChangeArrowheads="1"/>
          </p:cNvSpPr>
          <p:nvPr userDrawn="1"/>
        </p:nvSpPr>
        <p:spPr bwMode="auto">
          <a:xfrm>
            <a:off x="8433552" y="3035203"/>
            <a:ext cx="24901" cy="29574"/>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2" name="Rectangle 35"/>
          <p:cNvSpPr>
            <a:spLocks noChangeArrowheads="1"/>
          </p:cNvSpPr>
          <p:nvPr userDrawn="1"/>
        </p:nvSpPr>
        <p:spPr bwMode="auto">
          <a:xfrm>
            <a:off x="8433552" y="3530174"/>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3" name="Rectangle 36"/>
          <p:cNvSpPr>
            <a:spLocks noChangeArrowheads="1"/>
          </p:cNvSpPr>
          <p:nvPr userDrawn="1"/>
        </p:nvSpPr>
        <p:spPr bwMode="auto">
          <a:xfrm>
            <a:off x="8433552" y="3095907"/>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4" name="Rectangle 37"/>
          <p:cNvSpPr>
            <a:spLocks noChangeArrowheads="1"/>
          </p:cNvSpPr>
          <p:nvPr userDrawn="1"/>
        </p:nvSpPr>
        <p:spPr bwMode="auto">
          <a:xfrm>
            <a:off x="8433552" y="4088962"/>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5" name="Rectangle 38"/>
          <p:cNvSpPr>
            <a:spLocks noChangeArrowheads="1"/>
          </p:cNvSpPr>
          <p:nvPr userDrawn="1"/>
        </p:nvSpPr>
        <p:spPr bwMode="auto">
          <a:xfrm>
            <a:off x="8433552" y="4026702"/>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6" name="Rectangle 39"/>
          <p:cNvSpPr>
            <a:spLocks noChangeArrowheads="1"/>
          </p:cNvSpPr>
          <p:nvPr userDrawn="1"/>
        </p:nvSpPr>
        <p:spPr bwMode="auto">
          <a:xfrm>
            <a:off x="8433552" y="4151223"/>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7" name="Rectangle 40"/>
          <p:cNvSpPr>
            <a:spLocks noChangeArrowheads="1"/>
          </p:cNvSpPr>
          <p:nvPr userDrawn="1"/>
        </p:nvSpPr>
        <p:spPr bwMode="auto">
          <a:xfrm>
            <a:off x="8433552" y="4213484"/>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8" name="Rectangle 41"/>
          <p:cNvSpPr>
            <a:spLocks noChangeArrowheads="1"/>
          </p:cNvSpPr>
          <p:nvPr userDrawn="1"/>
        </p:nvSpPr>
        <p:spPr bwMode="auto">
          <a:xfrm>
            <a:off x="8433552" y="3592434"/>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9" name="Rectangle 42"/>
          <p:cNvSpPr>
            <a:spLocks noChangeArrowheads="1"/>
          </p:cNvSpPr>
          <p:nvPr userDrawn="1"/>
        </p:nvSpPr>
        <p:spPr bwMode="auto">
          <a:xfrm>
            <a:off x="8433552" y="3964441"/>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0" name="Rectangle 43"/>
          <p:cNvSpPr>
            <a:spLocks noChangeArrowheads="1"/>
          </p:cNvSpPr>
          <p:nvPr userDrawn="1"/>
        </p:nvSpPr>
        <p:spPr bwMode="auto">
          <a:xfrm>
            <a:off x="8433552" y="4275745"/>
            <a:ext cx="24901" cy="29574"/>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1" name="Rectangle 44"/>
          <p:cNvSpPr>
            <a:spLocks noChangeArrowheads="1"/>
          </p:cNvSpPr>
          <p:nvPr userDrawn="1"/>
        </p:nvSpPr>
        <p:spPr bwMode="auto">
          <a:xfrm>
            <a:off x="8433552" y="3902181"/>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2" name="Rectangle 45"/>
          <p:cNvSpPr>
            <a:spLocks noChangeArrowheads="1"/>
          </p:cNvSpPr>
          <p:nvPr userDrawn="1"/>
        </p:nvSpPr>
        <p:spPr bwMode="auto">
          <a:xfrm>
            <a:off x="8433552" y="3716955"/>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3" name="Rectangle 46"/>
          <p:cNvSpPr>
            <a:spLocks noChangeArrowheads="1"/>
          </p:cNvSpPr>
          <p:nvPr userDrawn="1"/>
        </p:nvSpPr>
        <p:spPr bwMode="auto">
          <a:xfrm>
            <a:off x="8433552" y="3654695"/>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4" name="Rectangle 47"/>
          <p:cNvSpPr>
            <a:spLocks noChangeArrowheads="1"/>
          </p:cNvSpPr>
          <p:nvPr userDrawn="1"/>
        </p:nvSpPr>
        <p:spPr bwMode="auto">
          <a:xfrm>
            <a:off x="8433552" y="3779216"/>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5" name="Rectangle 48"/>
          <p:cNvSpPr>
            <a:spLocks noChangeArrowheads="1"/>
          </p:cNvSpPr>
          <p:nvPr userDrawn="1"/>
        </p:nvSpPr>
        <p:spPr bwMode="auto">
          <a:xfrm>
            <a:off x="8433552" y="3841476"/>
            <a:ext cx="24901" cy="31130"/>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6" name="Rectangle 49"/>
          <p:cNvSpPr>
            <a:spLocks noChangeArrowheads="1"/>
          </p:cNvSpPr>
          <p:nvPr userDrawn="1"/>
        </p:nvSpPr>
        <p:spPr bwMode="auto">
          <a:xfrm>
            <a:off x="8368188" y="4336448"/>
            <a:ext cx="155629" cy="2334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7" name="Rectangle 50"/>
          <p:cNvSpPr>
            <a:spLocks noChangeArrowheads="1"/>
          </p:cNvSpPr>
          <p:nvPr userDrawn="1"/>
        </p:nvSpPr>
        <p:spPr bwMode="auto">
          <a:xfrm>
            <a:off x="8368188" y="2730125"/>
            <a:ext cx="155629" cy="24904"/>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8" name="Rectangle 51"/>
          <p:cNvSpPr>
            <a:spLocks noChangeArrowheads="1"/>
          </p:cNvSpPr>
          <p:nvPr userDrawn="1"/>
        </p:nvSpPr>
        <p:spPr bwMode="auto">
          <a:xfrm>
            <a:off x="9748620" y="3323158"/>
            <a:ext cx="32683" cy="2334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9" name="Rectangle 52"/>
          <p:cNvSpPr>
            <a:spLocks noChangeArrowheads="1"/>
          </p:cNvSpPr>
          <p:nvPr userDrawn="1"/>
        </p:nvSpPr>
        <p:spPr bwMode="auto">
          <a:xfrm>
            <a:off x="9812427" y="3323158"/>
            <a:ext cx="32683" cy="2334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0" name="Rectangle 53"/>
          <p:cNvSpPr>
            <a:spLocks noChangeArrowheads="1"/>
          </p:cNvSpPr>
          <p:nvPr userDrawn="1"/>
        </p:nvSpPr>
        <p:spPr bwMode="auto">
          <a:xfrm>
            <a:off x="9683255" y="3323158"/>
            <a:ext cx="32683" cy="2334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1" name="Rectangle 54"/>
          <p:cNvSpPr>
            <a:spLocks noChangeArrowheads="1"/>
          </p:cNvSpPr>
          <p:nvPr userDrawn="1"/>
        </p:nvSpPr>
        <p:spPr bwMode="auto">
          <a:xfrm>
            <a:off x="9490275" y="3323158"/>
            <a:ext cx="32683" cy="2334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2" name="Rectangle 55"/>
          <p:cNvSpPr>
            <a:spLocks noChangeArrowheads="1"/>
          </p:cNvSpPr>
          <p:nvPr userDrawn="1"/>
        </p:nvSpPr>
        <p:spPr bwMode="auto">
          <a:xfrm>
            <a:off x="9619447" y="3323158"/>
            <a:ext cx="32683" cy="2334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3" name="Rectangle 56"/>
          <p:cNvSpPr>
            <a:spLocks noChangeArrowheads="1"/>
          </p:cNvSpPr>
          <p:nvPr userDrawn="1"/>
        </p:nvSpPr>
        <p:spPr bwMode="auto">
          <a:xfrm>
            <a:off x="9555639" y="3323158"/>
            <a:ext cx="31126" cy="2334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4" name="Rectangle 57"/>
          <p:cNvSpPr>
            <a:spLocks noChangeArrowheads="1"/>
          </p:cNvSpPr>
          <p:nvPr userDrawn="1"/>
        </p:nvSpPr>
        <p:spPr bwMode="auto">
          <a:xfrm>
            <a:off x="10199945" y="3323158"/>
            <a:ext cx="32683" cy="2334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5" name="Rectangle 58"/>
          <p:cNvSpPr>
            <a:spLocks noChangeArrowheads="1"/>
          </p:cNvSpPr>
          <p:nvPr userDrawn="1"/>
        </p:nvSpPr>
        <p:spPr bwMode="auto">
          <a:xfrm>
            <a:off x="10265309" y="3323158"/>
            <a:ext cx="31126" cy="2334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6" name="Rectangle 59"/>
          <p:cNvSpPr>
            <a:spLocks noChangeArrowheads="1"/>
          </p:cNvSpPr>
          <p:nvPr userDrawn="1"/>
        </p:nvSpPr>
        <p:spPr bwMode="auto">
          <a:xfrm>
            <a:off x="9941600" y="3323158"/>
            <a:ext cx="32683" cy="2334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7" name="Rectangle 60"/>
          <p:cNvSpPr>
            <a:spLocks noChangeArrowheads="1"/>
          </p:cNvSpPr>
          <p:nvPr userDrawn="1"/>
        </p:nvSpPr>
        <p:spPr bwMode="auto">
          <a:xfrm>
            <a:off x="10134580" y="3323158"/>
            <a:ext cx="32683" cy="2334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8" name="Rectangle 61"/>
          <p:cNvSpPr>
            <a:spLocks noChangeArrowheads="1"/>
          </p:cNvSpPr>
          <p:nvPr userDrawn="1"/>
        </p:nvSpPr>
        <p:spPr bwMode="auto">
          <a:xfrm>
            <a:off x="10070772" y="3323158"/>
            <a:ext cx="32683" cy="2334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9" name="Rectangle 62"/>
          <p:cNvSpPr>
            <a:spLocks noChangeArrowheads="1"/>
          </p:cNvSpPr>
          <p:nvPr userDrawn="1"/>
        </p:nvSpPr>
        <p:spPr bwMode="auto">
          <a:xfrm>
            <a:off x="10006964" y="3323158"/>
            <a:ext cx="32683" cy="2334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0" name="Rectangle 63"/>
          <p:cNvSpPr>
            <a:spLocks noChangeArrowheads="1"/>
          </p:cNvSpPr>
          <p:nvPr userDrawn="1"/>
        </p:nvSpPr>
        <p:spPr bwMode="auto">
          <a:xfrm>
            <a:off x="9434249" y="3254671"/>
            <a:ext cx="23345" cy="15720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1" name="Rectangle 64"/>
          <p:cNvSpPr>
            <a:spLocks noChangeArrowheads="1"/>
          </p:cNvSpPr>
          <p:nvPr userDrawn="1"/>
        </p:nvSpPr>
        <p:spPr bwMode="auto">
          <a:xfrm>
            <a:off x="10329117" y="3254671"/>
            <a:ext cx="24901" cy="157208"/>
          </a:xfrm>
          <a:prstGeom prst="rect">
            <a:avLst/>
          </a:prstGeom>
          <a:solidFill>
            <a:srgbClr val="F3F3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2" name="Freeform 65"/>
          <p:cNvSpPr>
            <a:spLocks/>
          </p:cNvSpPr>
          <p:nvPr userDrawn="1"/>
        </p:nvSpPr>
        <p:spPr bwMode="auto">
          <a:xfrm>
            <a:off x="8984480" y="2793943"/>
            <a:ext cx="455994" cy="454502"/>
          </a:xfrm>
          <a:custGeom>
            <a:avLst/>
            <a:gdLst>
              <a:gd name="T0" fmla="*/ 249 w 263"/>
              <a:gd name="T1" fmla="*/ 14 h 263"/>
              <a:gd name="T2" fmla="*/ 256 w 263"/>
              <a:gd name="T3" fmla="*/ 14 h 263"/>
              <a:gd name="T4" fmla="*/ 263 w 263"/>
              <a:gd name="T5" fmla="*/ 8 h 263"/>
              <a:gd name="T6" fmla="*/ 256 w 263"/>
              <a:gd name="T7" fmla="*/ 0 h 263"/>
              <a:gd name="T8" fmla="*/ 249 w 263"/>
              <a:gd name="T9" fmla="*/ 0 h 263"/>
              <a:gd name="T10" fmla="*/ 0 w 263"/>
              <a:gd name="T11" fmla="*/ 250 h 263"/>
              <a:gd name="T12" fmla="*/ 0 w 263"/>
              <a:gd name="T13" fmla="*/ 256 h 263"/>
              <a:gd name="T14" fmla="*/ 7 w 263"/>
              <a:gd name="T15" fmla="*/ 263 h 263"/>
              <a:gd name="T16" fmla="*/ 7 w 263"/>
              <a:gd name="T17" fmla="*/ 263 h 263"/>
              <a:gd name="T18" fmla="*/ 14 w 263"/>
              <a:gd name="T19" fmla="*/ 255 h 263"/>
              <a:gd name="T20" fmla="*/ 14 w 263"/>
              <a:gd name="T21" fmla="*/ 250 h 263"/>
              <a:gd name="T22" fmla="*/ 249 w 263"/>
              <a:gd name="T23" fmla="*/ 14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263">
                <a:moveTo>
                  <a:pt x="249" y="14"/>
                </a:moveTo>
                <a:cubicBezTo>
                  <a:pt x="252" y="14"/>
                  <a:pt x="254" y="14"/>
                  <a:pt x="256" y="14"/>
                </a:cubicBezTo>
                <a:cubicBezTo>
                  <a:pt x="260" y="14"/>
                  <a:pt x="263" y="11"/>
                  <a:pt x="263" y="8"/>
                </a:cubicBezTo>
                <a:cubicBezTo>
                  <a:pt x="263" y="4"/>
                  <a:pt x="260" y="1"/>
                  <a:pt x="256" y="0"/>
                </a:cubicBezTo>
                <a:cubicBezTo>
                  <a:pt x="254" y="0"/>
                  <a:pt x="252" y="0"/>
                  <a:pt x="249" y="0"/>
                </a:cubicBezTo>
                <a:cubicBezTo>
                  <a:pt x="112" y="0"/>
                  <a:pt x="0" y="112"/>
                  <a:pt x="0" y="250"/>
                </a:cubicBezTo>
                <a:cubicBezTo>
                  <a:pt x="0" y="252"/>
                  <a:pt x="0" y="254"/>
                  <a:pt x="0" y="256"/>
                </a:cubicBezTo>
                <a:cubicBezTo>
                  <a:pt x="0" y="260"/>
                  <a:pt x="3" y="263"/>
                  <a:pt x="7" y="263"/>
                </a:cubicBezTo>
                <a:cubicBezTo>
                  <a:pt x="7" y="263"/>
                  <a:pt x="7" y="263"/>
                  <a:pt x="7" y="263"/>
                </a:cubicBezTo>
                <a:cubicBezTo>
                  <a:pt x="11" y="263"/>
                  <a:pt x="14" y="259"/>
                  <a:pt x="14" y="255"/>
                </a:cubicBezTo>
                <a:cubicBezTo>
                  <a:pt x="14" y="254"/>
                  <a:pt x="14" y="252"/>
                  <a:pt x="14" y="250"/>
                </a:cubicBezTo>
                <a:cubicBezTo>
                  <a:pt x="14" y="120"/>
                  <a:pt x="119" y="14"/>
                  <a:pt x="249" y="14"/>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3" name="Freeform 66"/>
          <p:cNvSpPr>
            <a:spLocks/>
          </p:cNvSpPr>
          <p:nvPr userDrawn="1"/>
        </p:nvSpPr>
        <p:spPr bwMode="auto">
          <a:xfrm>
            <a:off x="8483353" y="4356683"/>
            <a:ext cx="107385" cy="108956"/>
          </a:xfrm>
          <a:custGeom>
            <a:avLst/>
            <a:gdLst>
              <a:gd name="T0" fmla="*/ 53 w 62"/>
              <a:gd name="T1" fmla="*/ 47 h 63"/>
              <a:gd name="T2" fmla="*/ 15 w 62"/>
              <a:gd name="T3" fmla="*/ 54 h 63"/>
              <a:gd name="T4" fmla="*/ 8 w 62"/>
              <a:gd name="T5" fmla="*/ 16 h 63"/>
              <a:gd name="T6" fmla="*/ 46 w 62"/>
              <a:gd name="T7" fmla="*/ 9 h 63"/>
              <a:gd name="T8" fmla="*/ 53 w 62"/>
              <a:gd name="T9" fmla="*/ 47 h 63"/>
            </a:gdLst>
            <a:ahLst/>
            <a:cxnLst>
              <a:cxn ang="0">
                <a:pos x="T0" y="T1"/>
              </a:cxn>
              <a:cxn ang="0">
                <a:pos x="T2" y="T3"/>
              </a:cxn>
              <a:cxn ang="0">
                <a:pos x="T4" y="T5"/>
              </a:cxn>
              <a:cxn ang="0">
                <a:pos x="T6" y="T7"/>
              </a:cxn>
              <a:cxn ang="0">
                <a:pos x="T8" y="T9"/>
              </a:cxn>
            </a:cxnLst>
            <a:rect l="0" t="0" r="r" b="b"/>
            <a:pathLst>
              <a:path w="62" h="63">
                <a:moveTo>
                  <a:pt x="53" y="47"/>
                </a:moveTo>
                <a:cubicBezTo>
                  <a:pt x="45" y="60"/>
                  <a:pt x="28" y="63"/>
                  <a:pt x="15" y="54"/>
                </a:cubicBezTo>
                <a:cubicBezTo>
                  <a:pt x="3" y="46"/>
                  <a:pt x="0" y="29"/>
                  <a:pt x="8" y="16"/>
                </a:cubicBezTo>
                <a:cubicBezTo>
                  <a:pt x="17" y="4"/>
                  <a:pt x="34" y="0"/>
                  <a:pt x="46" y="9"/>
                </a:cubicBezTo>
                <a:cubicBezTo>
                  <a:pt x="59" y="18"/>
                  <a:pt x="62" y="35"/>
                  <a:pt x="53" y="47"/>
                </a:cubicBezTo>
                <a:close/>
              </a:path>
            </a:pathLst>
          </a:custGeom>
          <a:solidFill>
            <a:srgbClr val="7A5E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4" name="Freeform 67"/>
          <p:cNvSpPr>
            <a:spLocks/>
          </p:cNvSpPr>
          <p:nvPr userDrawn="1"/>
        </p:nvSpPr>
        <p:spPr bwMode="auto">
          <a:xfrm>
            <a:off x="8537823" y="3959771"/>
            <a:ext cx="821723" cy="817170"/>
          </a:xfrm>
          <a:custGeom>
            <a:avLst/>
            <a:gdLst>
              <a:gd name="T0" fmla="*/ 57 w 473"/>
              <a:gd name="T1" fmla="*/ 132 h 473"/>
              <a:gd name="T2" fmla="*/ 133 w 473"/>
              <a:gd name="T3" fmla="*/ 415 h 473"/>
              <a:gd name="T4" fmla="*/ 416 w 473"/>
              <a:gd name="T5" fmla="*/ 340 h 473"/>
              <a:gd name="T6" fmla="*/ 340 w 473"/>
              <a:gd name="T7" fmla="*/ 57 h 473"/>
              <a:gd name="T8" fmla="*/ 57 w 473"/>
              <a:gd name="T9" fmla="*/ 132 h 473"/>
            </a:gdLst>
            <a:ahLst/>
            <a:cxnLst>
              <a:cxn ang="0">
                <a:pos x="T0" y="T1"/>
              </a:cxn>
              <a:cxn ang="0">
                <a:pos x="T2" y="T3"/>
              </a:cxn>
              <a:cxn ang="0">
                <a:pos x="T4" y="T5"/>
              </a:cxn>
              <a:cxn ang="0">
                <a:pos x="T6" y="T7"/>
              </a:cxn>
              <a:cxn ang="0">
                <a:pos x="T8" y="T9"/>
              </a:cxn>
            </a:cxnLst>
            <a:rect l="0" t="0" r="r" b="b"/>
            <a:pathLst>
              <a:path w="473" h="473">
                <a:moveTo>
                  <a:pt x="57" y="132"/>
                </a:moveTo>
                <a:cubicBezTo>
                  <a:pt x="0" y="231"/>
                  <a:pt x="34" y="358"/>
                  <a:pt x="133" y="415"/>
                </a:cubicBezTo>
                <a:cubicBezTo>
                  <a:pt x="232" y="473"/>
                  <a:pt x="358" y="439"/>
                  <a:pt x="416" y="340"/>
                </a:cubicBezTo>
                <a:cubicBezTo>
                  <a:pt x="473" y="241"/>
                  <a:pt x="439" y="114"/>
                  <a:pt x="340" y="57"/>
                </a:cubicBezTo>
                <a:cubicBezTo>
                  <a:pt x="241" y="0"/>
                  <a:pt x="115" y="33"/>
                  <a:pt x="57" y="13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5" name="Freeform 68"/>
          <p:cNvSpPr>
            <a:spLocks/>
          </p:cNvSpPr>
          <p:nvPr userDrawn="1"/>
        </p:nvSpPr>
        <p:spPr bwMode="auto">
          <a:xfrm>
            <a:off x="8612525" y="4034484"/>
            <a:ext cx="672319" cy="667745"/>
          </a:xfrm>
          <a:custGeom>
            <a:avLst/>
            <a:gdLst>
              <a:gd name="T0" fmla="*/ 47 w 387"/>
              <a:gd name="T1" fmla="*/ 108 h 387"/>
              <a:gd name="T2" fmla="*/ 109 w 387"/>
              <a:gd name="T3" fmla="*/ 340 h 387"/>
              <a:gd name="T4" fmla="*/ 340 w 387"/>
              <a:gd name="T5" fmla="*/ 278 h 387"/>
              <a:gd name="T6" fmla="*/ 279 w 387"/>
              <a:gd name="T7" fmla="*/ 47 h 387"/>
              <a:gd name="T8" fmla="*/ 47 w 387"/>
              <a:gd name="T9" fmla="*/ 108 h 387"/>
            </a:gdLst>
            <a:ahLst/>
            <a:cxnLst>
              <a:cxn ang="0">
                <a:pos x="T0" y="T1"/>
              </a:cxn>
              <a:cxn ang="0">
                <a:pos x="T2" y="T3"/>
              </a:cxn>
              <a:cxn ang="0">
                <a:pos x="T4" y="T5"/>
              </a:cxn>
              <a:cxn ang="0">
                <a:pos x="T6" y="T7"/>
              </a:cxn>
              <a:cxn ang="0">
                <a:pos x="T8" y="T9"/>
              </a:cxn>
            </a:cxnLst>
            <a:rect l="0" t="0" r="r" b="b"/>
            <a:pathLst>
              <a:path w="387" h="387">
                <a:moveTo>
                  <a:pt x="47" y="108"/>
                </a:moveTo>
                <a:cubicBezTo>
                  <a:pt x="0" y="189"/>
                  <a:pt x="28" y="293"/>
                  <a:pt x="109" y="340"/>
                </a:cubicBezTo>
                <a:cubicBezTo>
                  <a:pt x="190" y="387"/>
                  <a:pt x="293" y="359"/>
                  <a:pt x="340" y="278"/>
                </a:cubicBezTo>
                <a:cubicBezTo>
                  <a:pt x="387" y="197"/>
                  <a:pt x="359" y="94"/>
                  <a:pt x="279" y="47"/>
                </a:cubicBezTo>
                <a:cubicBezTo>
                  <a:pt x="198" y="0"/>
                  <a:pt x="94" y="27"/>
                  <a:pt x="47" y="108"/>
                </a:cubicBezTo>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6" name="Freeform 69"/>
          <p:cNvSpPr>
            <a:spLocks/>
          </p:cNvSpPr>
          <p:nvPr userDrawn="1"/>
        </p:nvSpPr>
        <p:spPr bwMode="auto">
          <a:xfrm>
            <a:off x="10557892" y="4143440"/>
            <a:ext cx="381292" cy="393798"/>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7" name="Freeform 70"/>
          <p:cNvSpPr>
            <a:spLocks/>
          </p:cNvSpPr>
          <p:nvPr userDrawn="1"/>
        </p:nvSpPr>
        <p:spPr bwMode="auto">
          <a:xfrm>
            <a:off x="10557892" y="4143440"/>
            <a:ext cx="381292" cy="393798"/>
          </a:xfrm>
          <a:custGeom>
            <a:avLst/>
            <a:gdLst>
              <a:gd name="T0" fmla="*/ 155 w 219"/>
              <a:gd name="T1" fmla="*/ 228 h 228"/>
              <a:gd name="T2" fmla="*/ 55 w 219"/>
              <a:gd name="T3" fmla="*/ 106 h 228"/>
              <a:gd name="T4" fmla="*/ 73 w 219"/>
              <a:gd name="T5" fmla="*/ 0 h 228"/>
              <a:gd name="T6" fmla="*/ 219 w 219"/>
              <a:gd name="T7" fmla="*/ 186 h 228"/>
              <a:gd name="T8" fmla="*/ 155 w 219"/>
              <a:gd name="T9" fmla="*/ 228 h 228"/>
            </a:gdLst>
            <a:ahLst/>
            <a:cxnLst>
              <a:cxn ang="0">
                <a:pos x="T0" y="T1"/>
              </a:cxn>
              <a:cxn ang="0">
                <a:pos x="T2" y="T3"/>
              </a:cxn>
              <a:cxn ang="0">
                <a:pos x="T4" y="T5"/>
              </a:cxn>
              <a:cxn ang="0">
                <a:pos x="T6" y="T7"/>
              </a:cxn>
              <a:cxn ang="0">
                <a:pos x="T8" y="T9"/>
              </a:cxn>
            </a:cxnLst>
            <a:rect l="0" t="0" r="r" b="b"/>
            <a:pathLst>
              <a:path w="219" h="228">
                <a:moveTo>
                  <a:pt x="155" y="228"/>
                </a:moveTo>
                <a:cubicBezTo>
                  <a:pt x="125" y="201"/>
                  <a:pt x="78" y="169"/>
                  <a:pt x="55" y="106"/>
                </a:cubicBezTo>
                <a:cubicBezTo>
                  <a:pt x="32" y="43"/>
                  <a:pt x="0" y="27"/>
                  <a:pt x="73" y="0"/>
                </a:cubicBezTo>
                <a:cubicBezTo>
                  <a:pt x="149" y="80"/>
                  <a:pt x="187" y="136"/>
                  <a:pt x="219" y="186"/>
                </a:cubicBezTo>
                <a:cubicBezTo>
                  <a:pt x="203" y="204"/>
                  <a:pt x="181" y="219"/>
                  <a:pt x="155" y="228"/>
                </a:cubicBezTo>
                <a:close/>
              </a:path>
            </a:pathLst>
          </a:custGeom>
          <a:solidFill>
            <a:srgbClr val="301D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8" name="Freeform 71"/>
          <p:cNvSpPr>
            <a:spLocks/>
          </p:cNvSpPr>
          <p:nvPr userDrawn="1"/>
        </p:nvSpPr>
        <p:spPr bwMode="auto">
          <a:xfrm>
            <a:off x="10297991" y="4201032"/>
            <a:ext cx="102715" cy="102730"/>
          </a:xfrm>
          <a:custGeom>
            <a:avLst/>
            <a:gdLst>
              <a:gd name="T0" fmla="*/ 4 w 59"/>
              <a:gd name="T1" fmla="*/ 37 h 59"/>
              <a:gd name="T2" fmla="*/ 37 w 59"/>
              <a:gd name="T3" fmla="*/ 55 h 59"/>
              <a:gd name="T4" fmla="*/ 55 w 59"/>
              <a:gd name="T5" fmla="*/ 23 h 59"/>
              <a:gd name="T6" fmla="*/ 23 w 59"/>
              <a:gd name="T7" fmla="*/ 4 h 59"/>
              <a:gd name="T8" fmla="*/ 4 w 59"/>
              <a:gd name="T9" fmla="*/ 37 h 59"/>
            </a:gdLst>
            <a:ahLst/>
            <a:cxnLst>
              <a:cxn ang="0">
                <a:pos x="T0" y="T1"/>
              </a:cxn>
              <a:cxn ang="0">
                <a:pos x="T2" y="T3"/>
              </a:cxn>
              <a:cxn ang="0">
                <a:pos x="T4" y="T5"/>
              </a:cxn>
              <a:cxn ang="0">
                <a:pos x="T6" y="T7"/>
              </a:cxn>
              <a:cxn ang="0">
                <a:pos x="T8" y="T9"/>
              </a:cxn>
            </a:cxnLst>
            <a:rect l="0" t="0" r="r" b="b"/>
            <a:pathLst>
              <a:path w="59" h="59">
                <a:moveTo>
                  <a:pt x="4" y="37"/>
                </a:moveTo>
                <a:cubicBezTo>
                  <a:pt x="8" y="51"/>
                  <a:pt x="23" y="59"/>
                  <a:pt x="37" y="55"/>
                </a:cubicBezTo>
                <a:cubicBezTo>
                  <a:pt x="51" y="51"/>
                  <a:pt x="59" y="37"/>
                  <a:pt x="55" y="23"/>
                </a:cubicBezTo>
                <a:cubicBezTo>
                  <a:pt x="52" y="8"/>
                  <a:pt x="37" y="0"/>
                  <a:pt x="23" y="4"/>
                </a:cubicBezTo>
                <a:cubicBezTo>
                  <a:pt x="9" y="8"/>
                  <a:pt x="0" y="23"/>
                  <a:pt x="4" y="37"/>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09" name="Freeform 72"/>
          <p:cNvSpPr>
            <a:spLocks/>
          </p:cNvSpPr>
          <p:nvPr userDrawn="1"/>
        </p:nvSpPr>
        <p:spPr bwMode="auto">
          <a:xfrm>
            <a:off x="10377362" y="4366022"/>
            <a:ext cx="105828" cy="102730"/>
          </a:xfrm>
          <a:custGeom>
            <a:avLst/>
            <a:gdLst>
              <a:gd name="T0" fmla="*/ 7 w 61"/>
              <a:gd name="T1" fmla="*/ 42 h 60"/>
              <a:gd name="T2" fmla="*/ 42 w 61"/>
              <a:gd name="T3" fmla="*/ 54 h 60"/>
              <a:gd name="T4" fmla="*/ 55 w 61"/>
              <a:gd name="T5" fmla="*/ 19 h 60"/>
              <a:gd name="T6" fmla="*/ 19 w 61"/>
              <a:gd name="T7" fmla="*/ 6 h 60"/>
              <a:gd name="T8" fmla="*/ 7 w 61"/>
              <a:gd name="T9" fmla="*/ 42 h 60"/>
            </a:gdLst>
            <a:ahLst/>
            <a:cxnLst>
              <a:cxn ang="0">
                <a:pos x="T0" y="T1"/>
              </a:cxn>
              <a:cxn ang="0">
                <a:pos x="T2" y="T3"/>
              </a:cxn>
              <a:cxn ang="0">
                <a:pos x="T4" y="T5"/>
              </a:cxn>
              <a:cxn ang="0">
                <a:pos x="T6" y="T7"/>
              </a:cxn>
              <a:cxn ang="0">
                <a:pos x="T8" y="T9"/>
              </a:cxn>
            </a:cxnLst>
            <a:rect l="0" t="0" r="r" b="b"/>
            <a:pathLst>
              <a:path w="61" h="60">
                <a:moveTo>
                  <a:pt x="7" y="42"/>
                </a:moveTo>
                <a:cubicBezTo>
                  <a:pt x="13" y="55"/>
                  <a:pt x="29" y="60"/>
                  <a:pt x="42" y="54"/>
                </a:cubicBezTo>
                <a:cubicBezTo>
                  <a:pt x="55" y="48"/>
                  <a:pt x="61" y="32"/>
                  <a:pt x="55" y="19"/>
                </a:cubicBezTo>
                <a:cubicBezTo>
                  <a:pt x="48" y="6"/>
                  <a:pt x="33" y="0"/>
                  <a:pt x="19" y="6"/>
                </a:cubicBezTo>
                <a:cubicBezTo>
                  <a:pt x="6" y="13"/>
                  <a:pt x="0" y="28"/>
                  <a:pt x="7"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0" name="Freeform 73"/>
          <p:cNvSpPr>
            <a:spLocks/>
          </p:cNvSpPr>
          <p:nvPr userDrawn="1"/>
        </p:nvSpPr>
        <p:spPr bwMode="auto">
          <a:xfrm>
            <a:off x="10438057" y="4448517"/>
            <a:ext cx="105828" cy="105843"/>
          </a:xfrm>
          <a:custGeom>
            <a:avLst/>
            <a:gdLst>
              <a:gd name="T0" fmla="*/ 6 w 61"/>
              <a:gd name="T1" fmla="*/ 42 h 61"/>
              <a:gd name="T2" fmla="*/ 42 w 61"/>
              <a:gd name="T3" fmla="*/ 55 h 61"/>
              <a:gd name="T4" fmla="*/ 54 w 61"/>
              <a:gd name="T5" fmla="*/ 19 h 61"/>
              <a:gd name="T6" fmla="*/ 19 w 61"/>
              <a:gd name="T7" fmla="*/ 7 h 61"/>
              <a:gd name="T8" fmla="*/ 6 w 61"/>
              <a:gd name="T9" fmla="*/ 42 h 61"/>
            </a:gdLst>
            <a:ahLst/>
            <a:cxnLst>
              <a:cxn ang="0">
                <a:pos x="T0" y="T1"/>
              </a:cxn>
              <a:cxn ang="0">
                <a:pos x="T2" y="T3"/>
              </a:cxn>
              <a:cxn ang="0">
                <a:pos x="T4" y="T5"/>
              </a:cxn>
              <a:cxn ang="0">
                <a:pos x="T6" y="T7"/>
              </a:cxn>
              <a:cxn ang="0">
                <a:pos x="T8" y="T9"/>
              </a:cxn>
            </a:cxnLst>
            <a:rect l="0" t="0" r="r" b="b"/>
            <a:pathLst>
              <a:path w="61" h="61">
                <a:moveTo>
                  <a:pt x="6" y="42"/>
                </a:moveTo>
                <a:cubicBezTo>
                  <a:pt x="13" y="55"/>
                  <a:pt x="28" y="61"/>
                  <a:pt x="42" y="55"/>
                </a:cubicBezTo>
                <a:cubicBezTo>
                  <a:pt x="55" y="48"/>
                  <a:pt x="61" y="33"/>
                  <a:pt x="54" y="19"/>
                </a:cubicBezTo>
                <a:cubicBezTo>
                  <a:pt x="48" y="6"/>
                  <a:pt x="32" y="0"/>
                  <a:pt x="19" y="7"/>
                </a:cubicBezTo>
                <a:cubicBezTo>
                  <a:pt x="6" y="13"/>
                  <a:pt x="0" y="29"/>
                  <a:pt x="6" y="42"/>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1" name="Freeform 74"/>
          <p:cNvSpPr>
            <a:spLocks/>
          </p:cNvSpPr>
          <p:nvPr userDrawn="1"/>
        </p:nvSpPr>
        <p:spPr bwMode="auto">
          <a:xfrm>
            <a:off x="10515873" y="4524787"/>
            <a:ext cx="102715" cy="102730"/>
          </a:xfrm>
          <a:custGeom>
            <a:avLst/>
            <a:gdLst>
              <a:gd name="T0" fmla="*/ 6 w 60"/>
              <a:gd name="T1" fmla="*/ 41 h 60"/>
              <a:gd name="T2" fmla="*/ 41 w 60"/>
              <a:gd name="T3" fmla="*/ 54 h 60"/>
              <a:gd name="T4" fmla="*/ 54 w 60"/>
              <a:gd name="T5" fmla="*/ 19 h 60"/>
              <a:gd name="T6" fmla="*/ 18 w 60"/>
              <a:gd name="T7" fmla="*/ 6 h 60"/>
              <a:gd name="T8" fmla="*/ 6 w 60"/>
              <a:gd name="T9" fmla="*/ 41 h 60"/>
            </a:gdLst>
            <a:ahLst/>
            <a:cxnLst>
              <a:cxn ang="0">
                <a:pos x="T0" y="T1"/>
              </a:cxn>
              <a:cxn ang="0">
                <a:pos x="T2" y="T3"/>
              </a:cxn>
              <a:cxn ang="0">
                <a:pos x="T4" y="T5"/>
              </a:cxn>
              <a:cxn ang="0">
                <a:pos x="T6" y="T7"/>
              </a:cxn>
              <a:cxn ang="0">
                <a:pos x="T8" y="T9"/>
              </a:cxn>
            </a:cxnLst>
            <a:rect l="0" t="0" r="r" b="b"/>
            <a:pathLst>
              <a:path w="60" h="60">
                <a:moveTo>
                  <a:pt x="6" y="41"/>
                </a:moveTo>
                <a:cubicBezTo>
                  <a:pt x="12" y="55"/>
                  <a:pt x="28" y="60"/>
                  <a:pt x="41" y="54"/>
                </a:cubicBezTo>
                <a:cubicBezTo>
                  <a:pt x="54" y="48"/>
                  <a:pt x="60" y="32"/>
                  <a:pt x="54" y="19"/>
                </a:cubicBezTo>
                <a:cubicBezTo>
                  <a:pt x="47" y="5"/>
                  <a:pt x="32" y="0"/>
                  <a:pt x="18" y="6"/>
                </a:cubicBezTo>
                <a:cubicBezTo>
                  <a:pt x="5" y="12"/>
                  <a:pt x="0" y="28"/>
                  <a:pt x="6" y="41"/>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2" name="Freeform 75"/>
          <p:cNvSpPr>
            <a:spLocks/>
          </p:cNvSpPr>
          <p:nvPr userDrawn="1"/>
        </p:nvSpPr>
        <p:spPr bwMode="auto">
          <a:xfrm>
            <a:off x="9857561" y="3372966"/>
            <a:ext cx="1132981" cy="1526941"/>
          </a:xfrm>
          <a:custGeom>
            <a:avLst/>
            <a:gdLst>
              <a:gd name="T0" fmla="*/ 139 w 728"/>
              <a:gd name="T1" fmla="*/ 0 h 981"/>
              <a:gd name="T2" fmla="*/ 728 w 728"/>
              <a:gd name="T3" fmla="*/ 890 h 981"/>
              <a:gd name="T4" fmla="*/ 588 w 728"/>
              <a:gd name="T5" fmla="*/ 981 h 981"/>
              <a:gd name="T6" fmla="*/ 0 w 728"/>
              <a:gd name="T7" fmla="*/ 92 h 981"/>
              <a:gd name="T8" fmla="*/ 139 w 728"/>
              <a:gd name="T9" fmla="*/ 0 h 981"/>
            </a:gdLst>
            <a:ahLst/>
            <a:cxnLst>
              <a:cxn ang="0">
                <a:pos x="T0" y="T1"/>
              </a:cxn>
              <a:cxn ang="0">
                <a:pos x="T2" y="T3"/>
              </a:cxn>
              <a:cxn ang="0">
                <a:pos x="T4" y="T5"/>
              </a:cxn>
              <a:cxn ang="0">
                <a:pos x="T6" y="T7"/>
              </a:cxn>
              <a:cxn ang="0">
                <a:pos x="T8" y="T9"/>
              </a:cxn>
            </a:cxnLst>
            <a:rect l="0" t="0" r="r" b="b"/>
            <a:pathLst>
              <a:path w="728" h="981">
                <a:moveTo>
                  <a:pt x="139" y="0"/>
                </a:moveTo>
                <a:lnTo>
                  <a:pt x="728" y="890"/>
                </a:lnTo>
                <a:lnTo>
                  <a:pt x="588" y="981"/>
                </a:lnTo>
                <a:lnTo>
                  <a:pt x="0" y="92"/>
                </a:lnTo>
                <a:lnTo>
                  <a:pt x="139"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3" name="Freeform 76"/>
          <p:cNvSpPr>
            <a:spLocks/>
          </p:cNvSpPr>
          <p:nvPr userDrawn="1"/>
        </p:nvSpPr>
        <p:spPr bwMode="auto">
          <a:xfrm>
            <a:off x="10406932" y="4048494"/>
            <a:ext cx="712782" cy="477850"/>
          </a:xfrm>
          <a:custGeom>
            <a:avLst/>
            <a:gdLst>
              <a:gd name="T0" fmla="*/ 23 w 410"/>
              <a:gd name="T1" fmla="*/ 0 h 277"/>
              <a:gd name="T2" fmla="*/ 160 w 410"/>
              <a:gd name="T3" fmla="*/ 20 h 277"/>
              <a:gd name="T4" fmla="*/ 378 w 410"/>
              <a:gd name="T5" fmla="*/ 89 h 277"/>
              <a:gd name="T6" fmla="*/ 332 w 410"/>
              <a:gd name="T7" fmla="*/ 269 h 277"/>
              <a:gd name="T8" fmla="*/ 161 w 410"/>
              <a:gd name="T9" fmla="*/ 101 h 277"/>
              <a:gd name="T10" fmla="*/ 105 w 410"/>
              <a:gd name="T11" fmla="*/ 88 h 277"/>
              <a:gd name="T12" fmla="*/ 23 w 410"/>
              <a:gd name="T13" fmla="*/ 0 h 277"/>
            </a:gdLst>
            <a:ahLst/>
            <a:cxnLst>
              <a:cxn ang="0">
                <a:pos x="T0" y="T1"/>
              </a:cxn>
              <a:cxn ang="0">
                <a:pos x="T2" y="T3"/>
              </a:cxn>
              <a:cxn ang="0">
                <a:pos x="T4" y="T5"/>
              </a:cxn>
              <a:cxn ang="0">
                <a:pos x="T6" y="T7"/>
              </a:cxn>
              <a:cxn ang="0">
                <a:pos x="T8" y="T9"/>
              </a:cxn>
              <a:cxn ang="0">
                <a:pos x="T10" y="T11"/>
              </a:cxn>
              <a:cxn ang="0">
                <a:pos x="T12" y="T13"/>
              </a:cxn>
            </a:cxnLst>
            <a:rect l="0" t="0" r="r" b="b"/>
            <a:pathLst>
              <a:path w="410" h="277">
                <a:moveTo>
                  <a:pt x="23" y="0"/>
                </a:moveTo>
                <a:cubicBezTo>
                  <a:pt x="101" y="20"/>
                  <a:pt x="160" y="20"/>
                  <a:pt x="160" y="20"/>
                </a:cubicBezTo>
                <a:cubicBezTo>
                  <a:pt x="378" y="89"/>
                  <a:pt x="378" y="89"/>
                  <a:pt x="378" y="89"/>
                </a:cubicBezTo>
                <a:cubicBezTo>
                  <a:pt x="378" y="89"/>
                  <a:pt x="410" y="277"/>
                  <a:pt x="332" y="269"/>
                </a:cubicBezTo>
                <a:cubicBezTo>
                  <a:pt x="254" y="260"/>
                  <a:pt x="161" y="101"/>
                  <a:pt x="161" y="101"/>
                </a:cubicBezTo>
                <a:cubicBezTo>
                  <a:pt x="161" y="101"/>
                  <a:pt x="130" y="88"/>
                  <a:pt x="105" y="88"/>
                </a:cubicBezTo>
                <a:cubicBezTo>
                  <a:pt x="36" y="96"/>
                  <a:pt x="0" y="30"/>
                  <a:pt x="23" y="0"/>
                </a:cubicBez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4" name="Freeform 77"/>
          <p:cNvSpPr>
            <a:spLocks/>
          </p:cNvSpPr>
          <p:nvPr userDrawn="1"/>
        </p:nvSpPr>
        <p:spPr bwMode="auto">
          <a:xfrm>
            <a:off x="10685509" y="4082737"/>
            <a:ext cx="795266" cy="608597"/>
          </a:xfrm>
          <a:custGeom>
            <a:avLst/>
            <a:gdLst>
              <a:gd name="T0" fmla="*/ 511 w 511"/>
              <a:gd name="T1" fmla="*/ 157 h 391"/>
              <a:gd name="T2" fmla="*/ 0 w 511"/>
              <a:gd name="T3" fmla="*/ 0 h 391"/>
              <a:gd name="T4" fmla="*/ 183 w 511"/>
              <a:gd name="T5" fmla="*/ 274 h 391"/>
              <a:gd name="T6" fmla="*/ 486 w 511"/>
              <a:gd name="T7" fmla="*/ 391 h 391"/>
              <a:gd name="T8" fmla="*/ 511 w 511"/>
              <a:gd name="T9" fmla="*/ 157 h 391"/>
            </a:gdLst>
            <a:ahLst/>
            <a:cxnLst>
              <a:cxn ang="0">
                <a:pos x="T0" y="T1"/>
              </a:cxn>
              <a:cxn ang="0">
                <a:pos x="T2" y="T3"/>
              </a:cxn>
              <a:cxn ang="0">
                <a:pos x="T4" y="T5"/>
              </a:cxn>
              <a:cxn ang="0">
                <a:pos x="T6" y="T7"/>
              </a:cxn>
              <a:cxn ang="0">
                <a:pos x="T8" y="T9"/>
              </a:cxn>
            </a:cxnLst>
            <a:rect l="0" t="0" r="r" b="b"/>
            <a:pathLst>
              <a:path w="511" h="391">
                <a:moveTo>
                  <a:pt x="511" y="157"/>
                </a:moveTo>
                <a:lnTo>
                  <a:pt x="0" y="0"/>
                </a:lnTo>
                <a:lnTo>
                  <a:pt x="183" y="274"/>
                </a:lnTo>
                <a:lnTo>
                  <a:pt x="486" y="391"/>
                </a:lnTo>
                <a:lnTo>
                  <a:pt x="511" y="157"/>
                </a:lnTo>
                <a:close/>
              </a:path>
            </a:pathLst>
          </a:custGeom>
          <a:solidFill>
            <a:srgbClr val="613D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5" name="Freeform 78"/>
          <p:cNvSpPr>
            <a:spLocks/>
          </p:cNvSpPr>
          <p:nvPr userDrawn="1"/>
        </p:nvSpPr>
        <p:spPr bwMode="auto">
          <a:xfrm>
            <a:off x="10685509" y="4082737"/>
            <a:ext cx="795266" cy="608597"/>
          </a:xfrm>
          <a:custGeom>
            <a:avLst/>
            <a:gdLst>
              <a:gd name="T0" fmla="*/ 511 w 511"/>
              <a:gd name="T1" fmla="*/ 157 h 391"/>
              <a:gd name="T2" fmla="*/ 0 w 511"/>
              <a:gd name="T3" fmla="*/ 0 h 391"/>
              <a:gd name="T4" fmla="*/ 183 w 511"/>
              <a:gd name="T5" fmla="*/ 274 h 391"/>
              <a:gd name="T6" fmla="*/ 486 w 511"/>
              <a:gd name="T7" fmla="*/ 391 h 391"/>
              <a:gd name="T8" fmla="*/ 511 w 511"/>
              <a:gd name="T9" fmla="*/ 157 h 391"/>
            </a:gdLst>
            <a:ahLst/>
            <a:cxnLst>
              <a:cxn ang="0">
                <a:pos x="T0" y="T1"/>
              </a:cxn>
              <a:cxn ang="0">
                <a:pos x="T2" y="T3"/>
              </a:cxn>
              <a:cxn ang="0">
                <a:pos x="T4" y="T5"/>
              </a:cxn>
              <a:cxn ang="0">
                <a:pos x="T6" y="T7"/>
              </a:cxn>
              <a:cxn ang="0">
                <a:pos x="T8" y="T9"/>
              </a:cxn>
            </a:cxnLst>
            <a:rect l="0" t="0" r="r" b="b"/>
            <a:pathLst>
              <a:path w="511" h="391">
                <a:moveTo>
                  <a:pt x="511" y="157"/>
                </a:moveTo>
                <a:lnTo>
                  <a:pt x="0" y="0"/>
                </a:lnTo>
                <a:lnTo>
                  <a:pt x="183" y="274"/>
                </a:lnTo>
                <a:lnTo>
                  <a:pt x="486" y="391"/>
                </a:lnTo>
                <a:lnTo>
                  <a:pt x="511" y="15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6" name="Freeform 79"/>
          <p:cNvSpPr>
            <a:spLocks/>
          </p:cNvSpPr>
          <p:nvPr userDrawn="1"/>
        </p:nvSpPr>
        <p:spPr bwMode="auto">
          <a:xfrm>
            <a:off x="11164847" y="4222823"/>
            <a:ext cx="353279" cy="540111"/>
          </a:xfrm>
          <a:custGeom>
            <a:avLst/>
            <a:gdLst>
              <a:gd name="T0" fmla="*/ 227 w 227"/>
              <a:gd name="T1" fmla="*/ 65 h 347"/>
              <a:gd name="T2" fmla="*/ 31 w 227"/>
              <a:gd name="T3" fmla="*/ 0 h 347"/>
              <a:gd name="T4" fmla="*/ 0 w 227"/>
              <a:gd name="T5" fmla="*/ 252 h 347"/>
              <a:gd name="T6" fmla="*/ 227 w 227"/>
              <a:gd name="T7" fmla="*/ 347 h 347"/>
              <a:gd name="T8" fmla="*/ 227 w 227"/>
              <a:gd name="T9" fmla="*/ 65 h 347"/>
            </a:gdLst>
            <a:ahLst/>
            <a:cxnLst>
              <a:cxn ang="0">
                <a:pos x="T0" y="T1"/>
              </a:cxn>
              <a:cxn ang="0">
                <a:pos x="T2" y="T3"/>
              </a:cxn>
              <a:cxn ang="0">
                <a:pos x="T4" y="T5"/>
              </a:cxn>
              <a:cxn ang="0">
                <a:pos x="T6" y="T7"/>
              </a:cxn>
              <a:cxn ang="0">
                <a:pos x="T8" y="T9"/>
              </a:cxn>
            </a:cxnLst>
            <a:rect l="0" t="0" r="r" b="b"/>
            <a:pathLst>
              <a:path w="227" h="347">
                <a:moveTo>
                  <a:pt x="227" y="65"/>
                </a:moveTo>
                <a:lnTo>
                  <a:pt x="31" y="0"/>
                </a:lnTo>
                <a:lnTo>
                  <a:pt x="0" y="252"/>
                </a:lnTo>
                <a:lnTo>
                  <a:pt x="227" y="347"/>
                </a:lnTo>
                <a:lnTo>
                  <a:pt x="227" y="65"/>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7" name="Freeform 80"/>
          <p:cNvSpPr>
            <a:spLocks/>
          </p:cNvSpPr>
          <p:nvPr userDrawn="1"/>
        </p:nvSpPr>
        <p:spPr bwMode="auto">
          <a:xfrm>
            <a:off x="11164847" y="4222823"/>
            <a:ext cx="353279" cy="540111"/>
          </a:xfrm>
          <a:custGeom>
            <a:avLst/>
            <a:gdLst>
              <a:gd name="T0" fmla="*/ 227 w 227"/>
              <a:gd name="T1" fmla="*/ 65 h 347"/>
              <a:gd name="T2" fmla="*/ 31 w 227"/>
              <a:gd name="T3" fmla="*/ 0 h 347"/>
              <a:gd name="T4" fmla="*/ 0 w 227"/>
              <a:gd name="T5" fmla="*/ 252 h 347"/>
              <a:gd name="T6" fmla="*/ 227 w 227"/>
              <a:gd name="T7" fmla="*/ 347 h 347"/>
              <a:gd name="T8" fmla="*/ 227 w 227"/>
              <a:gd name="T9" fmla="*/ 65 h 347"/>
            </a:gdLst>
            <a:ahLst/>
            <a:cxnLst>
              <a:cxn ang="0">
                <a:pos x="T0" y="T1"/>
              </a:cxn>
              <a:cxn ang="0">
                <a:pos x="T2" y="T3"/>
              </a:cxn>
              <a:cxn ang="0">
                <a:pos x="T4" y="T5"/>
              </a:cxn>
              <a:cxn ang="0">
                <a:pos x="T6" y="T7"/>
              </a:cxn>
              <a:cxn ang="0">
                <a:pos x="T8" y="T9"/>
              </a:cxn>
            </a:cxnLst>
            <a:rect l="0" t="0" r="r" b="b"/>
            <a:pathLst>
              <a:path w="227" h="347">
                <a:moveTo>
                  <a:pt x="227" y="65"/>
                </a:moveTo>
                <a:lnTo>
                  <a:pt x="31" y="0"/>
                </a:lnTo>
                <a:lnTo>
                  <a:pt x="0" y="252"/>
                </a:lnTo>
                <a:lnTo>
                  <a:pt x="227" y="347"/>
                </a:lnTo>
                <a:lnTo>
                  <a:pt x="227"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8" name="Freeform 81"/>
          <p:cNvSpPr>
            <a:spLocks/>
          </p:cNvSpPr>
          <p:nvPr userDrawn="1"/>
        </p:nvSpPr>
        <p:spPr bwMode="auto">
          <a:xfrm>
            <a:off x="11164847" y="4585490"/>
            <a:ext cx="3113" cy="29574"/>
          </a:xfrm>
          <a:custGeom>
            <a:avLst/>
            <a:gdLst>
              <a:gd name="T0" fmla="*/ 2 w 2"/>
              <a:gd name="T1" fmla="*/ 0 h 19"/>
              <a:gd name="T2" fmla="*/ 0 w 2"/>
              <a:gd name="T3" fmla="*/ 19 h 19"/>
              <a:gd name="T4" fmla="*/ 2 w 2"/>
              <a:gd name="T5" fmla="*/ 0 h 19"/>
              <a:gd name="T6" fmla="*/ 2 w 2"/>
              <a:gd name="T7" fmla="*/ 0 h 19"/>
            </a:gdLst>
            <a:ahLst/>
            <a:cxnLst>
              <a:cxn ang="0">
                <a:pos x="T0" y="T1"/>
              </a:cxn>
              <a:cxn ang="0">
                <a:pos x="T2" y="T3"/>
              </a:cxn>
              <a:cxn ang="0">
                <a:pos x="T4" y="T5"/>
              </a:cxn>
              <a:cxn ang="0">
                <a:pos x="T6" y="T7"/>
              </a:cxn>
            </a:cxnLst>
            <a:rect l="0" t="0" r="r" b="b"/>
            <a:pathLst>
              <a:path w="2" h="19">
                <a:moveTo>
                  <a:pt x="2" y="0"/>
                </a:moveTo>
                <a:lnTo>
                  <a:pt x="0" y="19"/>
                </a:lnTo>
                <a:lnTo>
                  <a:pt x="2" y="0"/>
                </a:lnTo>
                <a:lnTo>
                  <a:pt x="2"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9" name="Freeform 82"/>
          <p:cNvSpPr>
            <a:spLocks/>
          </p:cNvSpPr>
          <p:nvPr userDrawn="1"/>
        </p:nvSpPr>
        <p:spPr bwMode="auto">
          <a:xfrm>
            <a:off x="11164847" y="4585490"/>
            <a:ext cx="3113" cy="29574"/>
          </a:xfrm>
          <a:custGeom>
            <a:avLst/>
            <a:gdLst>
              <a:gd name="T0" fmla="*/ 2 w 2"/>
              <a:gd name="T1" fmla="*/ 0 h 19"/>
              <a:gd name="T2" fmla="*/ 0 w 2"/>
              <a:gd name="T3" fmla="*/ 19 h 19"/>
              <a:gd name="T4" fmla="*/ 2 w 2"/>
              <a:gd name="T5" fmla="*/ 0 h 19"/>
              <a:gd name="T6" fmla="*/ 2 w 2"/>
              <a:gd name="T7" fmla="*/ 0 h 19"/>
            </a:gdLst>
            <a:ahLst/>
            <a:cxnLst>
              <a:cxn ang="0">
                <a:pos x="T0" y="T1"/>
              </a:cxn>
              <a:cxn ang="0">
                <a:pos x="T2" y="T3"/>
              </a:cxn>
              <a:cxn ang="0">
                <a:pos x="T4" y="T5"/>
              </a:cxn>
              <a:cxn ang="0">
                <a:pos x="T6" y="T7"/>
              </a:cxn>
            </a:cxnLst>
            <a:rect l="0" t="0" r="r" b="b"/>
            <a:pathLst>
              <a:path w="2" h="19">
                <a:moveTo>
                  <a:pt x="2" y="0"/>
                </a:moveTo>
                <a:lnTo>
                  <a:pt x="0" y="19"/>
                </a:lnTo>
                <a:lnTo>
                  <a:pt x="2"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0" name="Freeform 83"/>
          <p:cNvSpPr>
            <a:spLocks/>
          </p:cNvSpPr>
          <p:nvPr userDrawn="1"/>
        </p:nvSpPr>
        <p:spPr bwMode="auto">
          <a:xfrm>
            <a:off x="11167959" y="4513890"/>
            <a:ext cx="7782" cy="71600"/>
          </a:xfrm>
          <a:custGeom>
            <a:avLst/>
            <a:gdLst>
              <a:gd name="T0" fmla="*/ 5 w 5"/>
              <a:gd name="T1" fmla="*/ 0 h 46"/>
              <a:gd name="T2" fmla="*/ 0 w 5"/>
              <a:gd name="T3" fmla="*/ 46 h 46"/>
              <a:gd name="T4" fmla="*/ 0 w 5"/>
              <a:gd name="T5" fmla="*/ 46 h 46"/>
              <a:gd name="T6" fmla="*/ 5 w 5"/>
              <a:gd name="T7" fmla="*/ 0 h 46"/>
              <a:gd name="T8" fmla="*/ 5 w 5"/>
              <a:gd name="T9" fmla="*/ 0 h 46"/>
            </a:gdLst>
            <a:ahLst/>
            <a:cxnLst>
              <a:cxn ang="0">
                <a:pos x="T0" y="T1"/>
              </a:cxn>
              <a:cxn ang="0">
                <a:pos x="T2" y="T3"/>
              </a:cxn>
              <a:cxn ang="0">
                <a:pos x="T4" y="T5"/>
              </a:cxn>
              <a:cxn ang="0">
                <a:pos x="T6" y="T7"/>
              </a:cxn>
              <a:cxn ang="0">
                <a:pos x="T8" y="T9"/>
              </a:cxn>
            </a:cxnLst>
            <a:rect l="0" t="0" r="r" b="b"/>
            <a:pathLst>
              <a:path w="5" h="46">
                <a:moveTo>
                  <a:pt x="5" y="0"/>
                </a:moveTo>
                <a:lnTo>
                  <a:pt x="0" y="46"/>
                </a:lnTo>
                <a:lnTo>
                  <a:pt x="0" y="46"/>
                </a:lnTo>
                <a:lnTo>
                  <a:pt x="5" y="0"/>
                </a:lnTo>
                <a:lnTo>
                  <a:pt x="5" y="0"/>
                </a:lnTo>
                <a:close/>
              </a:path>
            </a:pathLst>
          </a:custGeom>
          <a:solidFill>
            <a:srgbClr val="57372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1" name="Freeform 84"/>
          <p:cNvSpPr>
            <a:spLocks/>
          </p:cNvSpPr>
          <p:nvPr userDrawn="1"/>
        </p:nvSpPr>
        <p:spPr bwMode="auto">
          <a:xfrm>
            <a:off x="11167959" y="4513890"/>
            <a:ext cx="7782" cy="71600"/>
          </a:xfrm>
          <a:custGeom>
            <a:avLst/>
            <a:gdLst>
              <a:gd name="T0" fmla="*/ 5 w 5"/>
              <a:gd name="T1" fmla="*/ 0 h 46"/>
              <a:gd name="T2" fmla="*/ 0 w 5"/>
              <a:gd name="T3" fmla="*/ 46 h 46"/>
              <a:gd name="T4" fmla="*/ 0 w 5"/>
              <a:gd name="T5" fmla="*/ 46 h 46"/>
              <a:gd name="T6" fmla="*/ 5 w 5"/>
              <a:gd name="T7" fmla="*/ 0 h 46"/>
              <a:gd name="T8" fmla="*/ 5 w 5"/>
              <a:gd name="T9" fmla="*/ 0 h 46"/>
            </a:gdLst>
            <a:ahLst/>
            <a:cxnLst>
              <a:cxn ang="0">
                <a:pos x="T0" y="T1"/>
              </a:cxn>
              <a:cxn ang="0">
                <a:pos x="T2" y="T3"/>
              </a:cxn>
              <a:cxn ang="0">
                <a:pos x="T4" y="T5"/>
              </a:cxn>
              <a:cxn ang="0">
                <a:pos x="T6" y="T7"/>
              </a:cxn>
              <a:cxn ang="0">
                <a:pos x="T8" y="T9"/>
              </a:cxn>
            </a:cxnLst>
            <a:rect l="0" t="0" r="r" b="b"/>
            <a:pathLst>
              <a:path w="5" h="46">
                <a:moveTo>
                  <a:pt x="5" y="0"/>
                </a:moveTo>
                <a:lnTo>
                  <a:pt x="0" y="46"/>
                </a:lnTo>
                <a:lnTo>
                  <a:pt x="0" y="46"/>
                </a:lnTo>
                <a:lnTo>
                  <a:pt x="5" y="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2" name="Freeform 85"/>
          <p:cNvSpPr>
            <a:spLocks/>
          </p:cNvSpPr>
          <p:nvPr userDrawn="1"/>
        </p:nvSpPr>
        <p:spPr bwMode="auto">
          <a:xfrm>
            <a:off x="11164847" y="4513890"/>
            <a:ext cx="353279" cy="249042"/>
          </a:xfrm>
          <a:custGeom>
            <a:avLst/>
            <a:gdLst>
              <a:gd name="T0" fmla="*/ 7 w 227"/>
              <a:gd name="T1" fmla="*/ 0 h 160"/>
              <a:gd name="T2" fmla="*/ 2 w 227"/>
              <a:gd name="T3" fmla="*/ 46 h 160"/>
              <a:gd name="T4" fmla="*/ 0 w 227"/>
              <a:gd name="T5" fmla="*/ 65 h 160"/>
              <a:gd name="T6" fmla="*/ 227 w 227"/>
              <a:gd name="T7" fmla="*/ 160 h 160"/>
              <a:gd name="T8" fmla="*/ 227 w 227"/>
              <a:gd name="T9" fmla="*/ 91 h 160"/>
              <a:gd name="T10" fmla="*/ 7 w 227"/>
              <a:gd name="T11" fmla="*/ 0 h 160"/>
            </a:gdLst>
            <a:ahLst/>
            <a:cxnLst>
              <a:cxn ang="0">
                <a:pos x="T0" y="T1"/>
              </a:cxn>
              <a:cxn ang="0">
                <a:pos x="T2" y="T3"/>
              </a:cxn>
              <a:cxn ang="0">
                <a:pos x="T4" y="T5"/>
              </a:cxn>
              <a:cxn ang="0">
                <a:pos x="T6" y="T7"/>
              </a:cxn>
              <a:cxn ang="0">
                <a:pos x="T8" y="T9"/>
              </a:cxn>
              <a:cxn ang="0">
                <a:pos x="T10" y="T11"/>
              </a:cxn>
            </a:cxnLst>
            <a:rect l="0" t="0" r="r" b="b"/>
            <a:pathLst>
              <a:path w="227" h="160">
                <a:moveTo>
                  <a:pt x="7" y="0"/>
                </a:moveTo>
                <a:lnTo>
                  <a:pt x="2" y="46"/>
                </a:lnTo>
                <a:lnTo>
                  <a:pt x="0" y="65"/>
                </a:lnTo>
                <a:lnTo>
                  <a:pt x="227" y="160"/>
                </a:lnTo>
                <a:lnTo>
                  <a:pt x="227" y="91"/>
                </a:lnTo>
                <a:lnTo>
                  <a:pt x="7"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3" name="Freeform 86"/>
          <p:cNvSpPr>
            <a:spLocks/>
          </p:cNvSpPr>
          <p:nvPr userDrawn="1"/>
        </p:nvSpPr>
        <p:spPr bwMode="auto">
          <a:xfrm>
            <a:off x="11164847" y="4513890"/>
            <a:ext cx="353279" cy="249042"/>
          </a:xfrm>
          <a:custGeom>
            <a:avLst/>
            <a:gdLst>
              <a:gd name="T0" fmla="*/ 7 w 227"/>
              <a:gd name="T1" fmla="*/ 0 h 160"/>
              <a:gd name="T2" fmla="*/ 2 w 227"/>
              <a:gd name="T3" fmla="*/ 46 h 160"/>
              <a:gd name="T4" fmla="*/ 0 w 227"/>
              <a:gd name="T5" fmla="*/ 65 h 160"/>
              <a:gd name="T6" fmla="*/ 227 w 227"/>
              <a:gd name="T7" fmla="*/ 160 h 160"/>
              <a:gd name="T8" fmla="*/ 227 w 227"/>
              <a:gd name="T9" fmla="*/ 91 h 160"/>
              <a:gd name="T10" fmla="*/ 7 w 227"/>
              <a:gd name="T11" fmla="*/ 0 h 160"/>
            </a:gdLst>
            <a:ahLst/>
            <a:cxnLst>
              <a:cxn ang="0">
                <a:pos x="T0" y="T1"/>
              </a:cxn>
              <a:cxn ang="0">
                <a:pos x="T2" y="T3"/>
              </a:cxn>
              <a:cxn ang="0">
                <a:pos x="T4" y="T5"/>
              </a:cxn>
              <a:cxn ang="0">
                <a:pos x="T6" y="T7"/>
              </a:cxn>
              <a:cxn ang="0">
                <a:pos x="T8" y="T9"/>
              </a:cxn>
              <a:cxn ang="0">
                <a:pos x="T10" y="T11"/>
              </a:cxn>
            </a:cxnLst>
            <a:rect l="0" t="0" r="r" b="b"/>
            <a:pathLst>
              <a:path w="227" h="160">
                <a:moveTo>
                  <a:pt x="7" y="0"/>
                </a:moveTo>
                <a:lnTo>
                  <a:pt x="2" y="46"/>
                </a:lnTo>
                <a:lnTo>
                  <a:pt x="0" y="65"/>
                </a:lnTo>
                <a:lnTo>
                  <a:pt x="227" y="160"/>
                </a:lnTo>
                <a:lnTo>
                  <a:pt x="227" y="91"/>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4" name="Freeform 87"/>
          <p:cNvSpPr>
            <a:spLocks/>
          </p:cNvSpPr>
          <p:nvPr userDrawn="1"/>
        </p:nvSpPr>
        <p:spPr bwMode="auto">
          <a:xfrm>
            <a:off x="9887130" y="2565135"/>
            <a:ext cx="208543" cy="3704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5" name="Freeform 88"/>
          <p:cNvSpPr>
            <a:spLocks/>
          </p:cNvSpPr>
          <p:nvPr userDrawn="1"/>
        </p:nvSpPr>
        <p:spPr bwMode="auto">
          <a:xfrm>
            <a:off x="9887130" y="2565135"/>
            <a:ext cx="208543" cy="370450"/>
          </a:xfrm>
          <a:custGeom>
            <a:avLst/>
            <a:gdLst>
              <a:gd name="T0" fmla="*/ 120 w 120"/>
              <a:gd name="T1" fmla="*/ 186 h 215"/>
              <a:gd name="T2" fmla="*/ 105 w 120"/>
              <a:gd name="T3" fmla="*/ 0 h 215"/>
              <a:gd name="T4" fmla="*/ 0 w 120"/>
              <a:gd name="T5" fmla="*/ 81 h 215"/>
              <a:gd name="T6" fmla="*/ 17 w 120"/>
              <a:gd name="T7" fmla="*/ 215 h 215"/>
              <a:gd name="T8" fmla="*/ 120 w 120"/>
              <a:gd name="T9" fmla="*/ 186 h 215"/>
            </a:gdLst>
            <a:ahLst/>
            <a:cxnLst>
              <a:cxn ang="0">
                <a:pos x="T0" y="T1"/>
              </a:cxn>
              <a:cxn ang="0">
                <a:pos x="T2" y="T3"/>
              </a:cxn>
              <a:cxn ang="0">
                <a:pos x="T4" y="T5"/>
              </a:cxn>
              <a:cxn ang="0">
                <a:pos x="T6" y="T7"/>
              </a:cxn>
              <a:cxn ang="0">
                <a:pos x="T8" y="T9"/>
              </a:cxn>
            </a:cxnLst>
            <a:rect l="0" t="0" r="r" b="b"/>
            <a:pathLst>
              <a:path w="120" h="215">
                <a:moveTo>
                  <a:pt x="120" y="186"/>
                </a:moveTo>
                <a:cubicBezTo>
                  <a:pt x="120" y="186"/>
                  <a:pt x="64" y="85"/>
                  <a:pt x="105" y="0"/>
                </a:cubicBezTo>
                <a:cubicBezTo>
                  <a:pt x="4" y="67"/>
                  <a:pt x="0" y="81"/>
                  <a:pt x="0" y="81"/>
                </a:cubicBezTo>
                <a:cubicBezTo>
                  <a:pt x="17" y="215"/>
                  <a:pt x="17" y="215"/>
                  <a:pt x="17" y="215"/>
                </a:cubicBezTo>
                <a:lnTo>
                  <a:pt x="120" y="186"/>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6" name="Freeform 89"/>
          <p:cNvSpPr>
            <a:spLocks/>
          </p:cNvSpPr>
          <p:nvPr userDrawn="1"/>
        </p:nvSpPr>
        <p:spPr bwMode="auto">
          <a:xfrm>
            <a:off x="9798421" y="2390806"/>
            <a:ext cx="815498" cy="551006"/>
          </a:xfrm>
          <a:custGeom>
            <a:avLst/>
            <a:gdLst>
              <a:gd name="T0" fmla="*/ 0 w 470"/>
              <a:gd name="T1" fmla="*/ 134 h 319"/>
              <a:gd name="T2" fmla="*/ 42 w 470"/>
              <a:gd name="T3" fmla="*/ 197 h 319"/>
              <a:gd name="T4" fmla="*/ 147 w 470"/>
              <a:gd name="T5" fmla="*/ 123 h 319"/>
              <a:gd name="T6" fmla="*/ 221 w 470"/>
              <a:gd name="T7" fmla="*/ 270 h 319"/>
              <a:gd name="T8" fmla="*/ 300 w 470"/>
              <a:gd name="T9" fmla="*/ 319 h 319"/>
              <a:gd name="T10" fmla="*/ 427 w 470"/>
              <a:gd name="T11" fmla="*/ 174 h 319"/>
              <a:gd name="T12" fmla="*/ 470 w 470"/>
              <a:gd name="T13" fmla="*/ 171 h 319"/>
              <a:gd name="T14" fmla="*/ 468 w 470"/>
              <a:gd name="T15" fmla="*/ 2 h 319"/>
              <a:gd name="T16" fmla="*/ 312 w 470"/>
              <a:gd name="T17" fmla="*/ 30 h 319"/>
              <a:gd name="T18" fmla="*/ 127 w 470"/>
              <a:gd name="T19" fmla="*/ 20 h 319"/>
              <a:gd name="T20" fmla="*/ 0 w 470"/>
              <a:gd name="T21" fmla="*/ 134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319">
                <a:moveTo>
                  <a:pt x="0" y="134"/>
                </a:moveTo>
                <a:cubicBezTo>
                  <a:pt x="0" y="134"/>
                  <a:pt x="13" y="192"/>
                  <a:pt x="42" y="197"/>
                </a:cubicBezTo>
                <a:cubicBezTo>
                  <a:pt x="68" y="201"/>
                  <a:pt x="146" y="130"/>
                  <a:pt x="147" y="123"/>
                </a:cubicBezTo>
                <a:cubicBezTo>
                  <a:pt x="261" y="161"/>
                  <a:pt x="221" y="270"/>
                  <a:pt x="221" y="270"/>
                </a:cubicBezTo>
                <a:cubicBezTo>
                  <a:pt x="221" y="270"/>
                  <a:pt x="227" y="279"/>
                  <a:pt x="300" y="319"/>
                </a:cubicBezTo>
                <a:cubicBezTo>
                  <a:pt x="440" y="276"/>
                  <a:pt x="427" y="174"/>
                  <a:pt x="427" y="174"/>
                </a:cubicBezTo>
                <a:cubicBezTo>
                  <a:pt x="470" y="171"/>
                  <a:pt x="470" y="171"/>
                  <a:pt x="470" y="171"/>
                </a:cubicBezTo>
                <a:cubicBezTo>
                  <a:pt x="468" y="2"/>
                  <a:pt x="468" y="2"/>
                  <a:pt x="468" y="2"/>
                </a:cubicBezTo>
                <a:cubicBezTo>
                  <a:pt x="312" y="30"/>
                  <a:pt x="312" y="30"/>
                  <a:pt x="312" y="30"/>
                </a:cubicBezTo>
                <a:cubicBezTo>
                  <a:pt x="312" y="30"/>
                  <a:pt x="145" y="0"/>
                  <a:pt x="127" y="20"/>
                </a:cubicBezTo>
                <a:cubicBezTo>
                  <a:pt x="116" y="33"/>
                  <a:pt x="0" y="134"/>
                  <a:pt x="0" y="134"/>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7" name="Freeform 90"/>
          <p:cNvSpPr>
            <a:spLocks/>
          </p:cNvSpPr>
          <p:nvPr userDrawn="1"/>
        </p:nvSpPr>
        <p:spPr bwMode="auto">
          <a:xfrm>
            <a:off x="10570343" y="2334771"/>
            <a:ext cx="183643" cy="373563"/>
          </a:xfrm>
          <a:custGeom>
            <a:avLst/>
            <a:gdLst>
              <a:gd name="T0" fmla="*/ 0 w 118"/>
              <a:gd name="T1" fmla="*/ 15 h 240"/>
              <a:gd name="T2" fmla="*/ 11 w 118"/>
              <a:gd name="T3" fmla="*/ 240 h 240"/>
              <a:gd name="T4" fmla="*/ 118 w 118"/>
              <a:gd name="T5" fmla="*/ 235 h 240"/>
              <a:gd name="T6" fmla="*/ 107 w 118"/>
              <a:gd name="T7" fmla="*/ 0 h 240"/>
              <a:gd name="T8" fmla="*/ 0 w 118"/>
              <a:gd name="T9" fmla="*/ 15 h 240"/>
            </a:gdLst>
            <a:ahLst/>
            <a:cxnLst>
              <a:cxn ang="0">
                <a:pos x="T0" y="T1"/>
              </a:cxn>
              <a:cxn ang="0">
                <a:pos x="T2" y="T3"/>
              </a:cxn>
              <a:cxn ang="0">
                <a:pos x="T4" y="T5"/>
              </a:cxn>
              <a:cxn ang="0">
                <a:pos x="T6" y="T7"/>
              </a:cxn>
              <a:cxn ang="0">
                <a:pos x="T8" y="T9"/>
              </a:cxn>
            </a:cxnLst>
            <a:rect l="0" t="0" r="r" b="b"/>
            <a:pathLst>
              <a:path w="118" h="240">
                <a:moveTo>
                  <a:pt x="0" y="15"/>
                </a:moveTo>
                <a:lnTo>
                  <a:pt x="11" y="240"/>
                </a:lnTo>
                <a:lnTo>
                  <a:pt x="118" y="235"/>
                </a:lnTo>
                <a:lnTo>
                  <a:pt x="107"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8" name="Freeform 91"/>
          <p:cNvSpPr>
            <a:spLocks/>
          </p:cNvSpPr>
          <p:nvPr userDrawn="1"/>
        </p:nvSpPr>
        <p:spPr bwMode="auto">
          <a:xfrm>
            <a:off x="10570343" y="2334771"/>
            <a:ext cx="183643" cy="373563"/>
          </a:xfrm>
          <a:custGeom>
            <a:avLst/>
            <a:gdLst>
              <a:gd name="T0" fmla="*/ 0 w 118"/>
              <a:gd name="T1" fmla="*/ 15 h 240"/>
              <a:gd name="T2" fmla="*/ 11 w 118"/>
              <a:gd name="T3" fmla="*/ 240 h 240"/>
              <a:gd name="T4" fmla="*/ 118 w 118"/>
              <a:gd name="T5" fmla="*/ 235 h 240"/>
              <a:gd name="T6" fmla="*/ 107 w 118"/>
              <a:gd name="T7" fmla="*/ 0 h 240"/>
              <a:gd name="T8" fmla="*/ 0 w 118"/>
              <a:gd name="T9" fmla="*/ 15 h 240"/>
            </a:gdLst>
            <a:ahLst/>
            <a:cxnLst>
              <a:cxn ang="0">
                <a:pos x="T0" y="T1"/>
              </a:cxn>
              <a:cxn ang="0">
                <a:pos x="T2" y="T3"/>
              </a:cxn>
              <a:cxn ang="0">
                <a:pos x="T4" y="T5"/>
              </a:cxn>
              <a:cxn ang="0">
                <a:pos x="T6" y="T7"/>
              </a:cxn>
              <a:cxn ang="0">
                <a:pos x="T8" y="T9"/>
              </a:cxn>
            </a:cxnLst>
            <a:rect l="0" t="0" r="r" b="b"/>
            <a:pathLst>
              <a:path w="118" h="240">
                <a:moveTo>
                  <a:pt x="0" y="15"/>
                </a:moveTo>
                <a:lnTo>
                  <a:pt x="11" y="240"/>
                </a:lnTo>
                <a:lnTo>
                  <a:pt x="118" y="235"/>
                </a:lnTo>
                <a:lnTo>
                  <a:pt x="107" y="0"/>
                </a:lnTo>
                <a:lnTo>
                  <a:pt x="0"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9" name="Freeform 92"/>
          <p:cNvSpPr>
            <a:spLocks/>
          </p:cNvSpPr>
          <p:nvPr userDrawn="1"/>
        </p:nvSpPr>
        <p:spPr bwMode="auto">
          <a:xfrm>
            <a:off x="10103455" y="2425049"/>
            <a:ext cx="168080" cy="244373"/>
          </a:xfrm>
          <a:custGeom>
            <a:avLst/>
            <a:gdLst>
              <a:gd name="T0" fmla="*/ 31 w 97"/>
              <a:gd name="T1" fmla="*/ 142 h 142"/>
              <a:gd name="T2" fmla="*/ 97 w 97"/>
              <a:gd name="T3" fmla="*/ 4 h 142"/>
              <a:gd name="T4" fmla="*/ 72 w 97"/>
              <a:gd name="T5" fmla="*/ 0 h 142"/>
              <a:gd name="T6" fmla="*/ 3 w 97"/>
              <a:gd name="T7" fmla="*/ 118 h 142"/>
              <a:gd name="T8" fmla="*/ 31 w 97"/>
              <a:gd name="T9" fmla="*/ 142 h 142"/>
            </a:gdLst>
            <a:ahLst/>
            <a:cxnLst>
              <a:cxn ang="0">
                <a:pos x="T0" y="T1"/>
              </a:cxn>
              <a:cxn ang="0">
                <a:pos x="T2" y="T3"/>
              </a:cxn>
              <a:cxn ang="0">
                <a:pos x="T4" y="T5"/>
              </a:cxn>
              <a:cxn ang="0">
                <a:pos x="T6" y="T7"/>
              </a:cxn>
              <a:cxn ang="0">
                <a:pos x="T8" y="T9"/>
              </a:cxn>
            </a:cxnLst>
            <a:rect l="0" t="0" r="r" b="b"/>
            <a:pathLst>
              <a:path w="97" h="142">
                <a:moveTo>
                  <a:pt x="31" y="142"/>
                </a:moveTo>
                <a:cubicBezTo>
                  <a:pt x="97" y="4"/>
                  <a:pt x="97" y="4"/>
                  <a:pt x="97" y="4"/>
                </a:cubicBezTo>
                <a:cubicBezTo>
                  <a:pt x="90" y="2"/>
                  <a:pt x="81" y="1"/>
                  <a:pt x="72" y="0"/>
                </a:cubicBezTo>
                <a:cubicBezTo>
                  <a:pt x="72" y="0"/>
                  <a:pt x="0" y="115"/>
                  <a:pt x="3" y="118"/>
                </a:cubicBezTo>
                <a:cubicBezTo>
                  <a:pt x="15" y="125"/>
                  <a:pt x="24" y="134"/>
                  <a:pt x="31" y="14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0" name="Freeform 93"/>
          <p:cNvSpPr>
            <a:spLocks/>
          </p:cNvSpPr>
          <p:nvPr userDrawn="1"/>
        </p:nvSpPr>
        <p:spPr bwMode="auto">
          <a:xfrm>
            <a:off x="9799977" y="2238267"/>
            <a:ext cx="449769" cy="800048"/>
          </a:xfrm>
          <a:custGeom>
            <a:avLst/>
            <a:gdLst>
              <a:gd name="T0" fmla="*/ 271 w 289"/>
              <a:gd name="T1" fmla="*/ 0 h 514"/>
              <a:gd name="T2" fmla="*/ 0 w 289"/>
              <a:gd name="T3" fmla="*/ 504 h 514"/>
              <a:gd name="T4" fmla="*/ 18 w 289"/>
              <a:gd name="T5" fmla="*/ 514 h 514"/>
              <a:gd name="T6" fmla="*/ 289 w 289"/>
              <a:gd name="T7" fmla="*/ 10 h 514"/>
              <a:gd name="T8" fmla="*/ 271 w 289"/>
              <a:gd name="T9" fmla="*/ 0 h 514"/>
            </a:gdLst>
            <a:ahLst/>
            <a:cxnLst>
              <a:cxn ang="0">
                <a:pos x="T0" y="T1"/>
              </a:cxn>
              <a:cxn ang="0">
                <a:pos x="T2" y="T3"/>
              </a:cxn>
              <a:cxn ang="0">
                <a:pos x="T4" y="T5"/>
              </a:cxn>
              <a:cxn ang="0">
                <a:pos x="T6" y="T7"/>
              </a:cxn>
              <a:cxn ang="0">
                <a:pos x="T8" y="T9"/>
              </a:cxn>
            </a:cxnLst>
            <a:rect l="0" t="0" r="r" b="b"/>
            <a:pathLst>
              <a:path w="289" h="514">
                <a:moveTo>
                  <a:pt x="271" y="0"/>
                </a:moveTo>
                <a:lnTo>
                  <a:pt x="0" y="504"/>
                </a:lnTo>
                <a:lnTo>
                  <a:pt x="18" y="514"/>
                </a:lnTo>
                <a:lnTo>
                  <a:pt x="289" y="10"/>
                </a:lnTo>
                <a:lnTo>
                  <a:pt x="271"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1" name="Freeform 94"/>
          <p:cNvSpPr>
            <a:spLocks/>
          </p:cNvSpPr>
          <p:nvPr userDrawn="1"/>
        </p:nvSpPr>
        <p:spPr bwMode="auto">
          <a:xfrm>
            <a:off x="9799977" y="2238267"/>
            <a:ext cx="505796" cy="829622"/>
          </a:xfrm>
          <a:custGeom>
            <a:avLst/>
            <a:gdLst>
              <a:gd name="T0" fmla="*/ 325 w 325"/>
              <a:gd name="T1" fmla="*/ 29 h 533"/>
              <a:gd name="T2" fmla="*/ 289 w 325"/>
              <a:gd name="T3" fmla="*/ 10 h 533"/>
              <a:gd name="T4" fmla="*/ 271 w 325"/>
              <a:gd name="T5" fmla="*/ 0 h 533"/>
              <a:gd name="T6" fmla="*/ 0 w 325"/>
              <a:gd name="T7" fmla="*/ 504 h 533"/>
              <a:gd name="T8" fmla="*/ 18 w 325"/>
              <a:gd name="T9" fmla="*/ 514 h 533"/>
              <a:gd name="T10" fmla="*/ 54 w 325"/>
              <a:gd name="T11" fmla="*/ 533 h 533"/>
              <a:gd name="T12" fmla="*/ 325 w 325"/>
              <a:gd name="T13" fmla="*/ 29 h 533"/>
            </a:gdLst>
            <a:ahLst/>
            <a:cxnLst>
              <a:cxn ang="0">
                <a:pos x="T0" y="T1"/>
              </a:cxn>
              <a:cxn ang="0">
                <a:pos x="T2" y="T3"/>
              </a:cxn>
              <a:cxn ang="0">
                <a:pos x="T4" y="T5"/>
              </a:cxn>
              <a:cxn ang="0">
                <a:pos x="T6" y="T7"/>
              </a:cxn>
              <a:cxn ang="0">
                <a:pos x="T8" y="T9"/>
              </a:cxn>
              <a:cxn ang="0">
                <a:pos x="T10" y="T11"/>
              </a:cxn>
              <a:cxn ang="0">
                <a:pos x="T12" y="T13"/>
              </a:cxn>
            </a:cxnLst>
            <a:rect l="0" t="0" r="r" b="b"/>
            <a:pathLst>
              <a:path w="325" h="533">
                <a:moveTo>
                  <a:pt x="325" y="29"/>
                </a:moveTo>
                <a:lnTo>
                  <a:pt x="289" y="10"/>
                </a:lnTo>
                <a:lnTo>
                  <a:pt x="271" y="0"/>
                </a:lnTo>
                <a:lnTo>
                  <a:pt x="0" y="504"/>
                </a:lnTo>
                <a:lnTo>
                  <a:pt x="18" y="514"/>
                </a:lnTo>
                <a:lnTo>
                  <a:pt x="54" y="533"/>
                </a:lnTo>
                <a:lnTo>
                  <a:pt x="325" y="29"/>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2" name="Freeform 95"/>
          <p:cNvSpPr>
            <a:spLocks/>
          </p:cNvSpPr>
          <p:nvPr userDrawn="1"/>
        </p:nvSpPr>
        <p:spPr bwMode="auto">
          <a:xfrm>
            <a:off x="9796865" y="3022750"/>
            <a:ext cx="87152" cy="107400"/>
          </a:xfrm>
          <a:custGeom>
            <a:avLst/>
            <a:gdLst>
              <a:gd name="T0" fmla="*/ 2 w 56"/>
              <a:gd name="T1" fmla="*/ 0 h 69"/>
              <a:gd name="T2" fmla="*/ 0 w 56"/>
              <a:gd name="T3" fmla="*/ 69 h 69"/>
              <a:gd name="T4" fmla="*/ 56 w 56"/>
              <a:gd name="T5" fmla="*/ 29 h 69"/>
              <a:gd name="T6" fmla="*/ 2 w 56"/>
              <a:gd name="T7" fmla="*/ 0 h 69"/>
            </a:gdLst>
            <a:ahLst/>
            <a:cxnLst>
              <a:cxn ang="0">
                <a:pos x="T0" y="T1"/>
              </a:cxn>
              <a:cxn ang="0">
                <a:pos x="T2" y="T3"/>
              </a:cxn>
              <a:cxn ang="0">
                <a:pos x="T4" y="T5"/>
              </a:cxn>
              <a:cxn ang="0">
                <a:pos x="T6" y="T7"/>
              </a:cxn>
            </a:cxnLst>
            <a:rect l="0" t="0" r="r" b="b"/>
            <a:pathLst>
              <a:path w="56" h="69">
                <a:moveTo>
                  <a:pt x="2" y="0"/>
                </a:moveTo>
                <a:lnTo>
                  <a:pt x="0" y="69"/>
                </a:lnTo>
                <a:lnTo>
                  <a:pt x="56" y="29"/>
                </a:lnTo>
                <a:lnTo>
                  <a:pt x="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3" name="Freeform 96"/>
          <p:cNvSpPr>
            <a:spLocks/>
          </p:cNvSpPr>
          <p:nvPr userDrawn="1"/>
        </p:nvSpPr>
        <p:spPr bwMode="auto">
          <a:xfrm>
            <a:off x="9796865" y="3075672"/>
            <a:ext cx="43576" cy="54478"/>
          </a:xfrm>
          <a:custGeom>
            <a:avLst/>
            <a:gdLst>
              <a:gd name="T0" fmla="*/ 28 w 28"/>
              <a:gd name="T1" fmla="*/ 15 h 35"/>
              <a:gd name="T2" fmla="*/ 0 w 28"/>
              <a:gd name="T3" fmla="*/ 35 h 35"/>
              <a:gd name="T4" fmla="*/ 1 w 28"/>
              <a:gd name="T5" fmla="*/ 0 h 35"/>
              <a:gd name="T6" fmla="*/ 28 w 28"/>
              <a:gd name="T7" fmla="*/ 15 h 35"/>
            </a:gdLst>
            <a:ahLst/>
            <a:cxnLst>
              <a:cxn ang="0">
                <a:pos x="T0" y="T1"/>
              </a:cxn>
              <a:cxn ang="0">
                <a:pos x="T2" y="T3"/>
              </a:cxn>
              <a:cxn ang="0">
                <a:pos x="T4" y="T5"/>
              </a:cxn>
              <a:cxn ang="0">
                <a:pos x="T6" y="T7"/>
              </a:cxn>
            </a:cxnLst>
            <a:rect l="0" t="0" r="r" b="b"/>
            <a:pathLst>
              <a:path w="28" h="35">
                <a:moveTo>
                  <a:pt x="28" y="15"/>
                </a:moveTo>
                <a:lnTo>
                  <a:pt x="0" y="35"/>
                </a:lnTo>
                <a:lnTo>
                  <a:pt x="1" y="0"/>
                </a:lnTo>
                <a:lnTo>
                  <a:pt x="28" y="15"/>
                </a:lnTo>
                <a:close/>
              </a:path>
            </a:pathLst>
          </a:custGeom>
          <a:solidFill>
            <a:srgbClr val="798C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4" name="Freeform 97"/>
          <p:cNvSpPr>
            <a:spLocks/>
          </p:cNvSpPr>
          <p:nvPr userDrawn="1"/>
        </p:nvSpPr>
        <p:spPr bwMode="auto">
          <a:xfrm>
            <a:off x="10249747" y="2221146"/>
            <a:ext cx="73146" cy="62261"/>
          </a:xfrm>
          <a:custGeom>
            <a:avLst/>
            <a:gdLst>
              <a:gd name="T0" fmla="*/ 12 w 47"/>
              <a:gd name="T1" fmla="*/ 0 h 40"/>
              <a:gd name="T2" fmla="*/ 0 w 47"/>
              <a:gd name="T3" fmla="*/ 21 h 40"/>
              <a:gd name="T4" fmla="*/ 36 w 47"/>
              <a:gd name="T5" fmla="*/ 40 h 40"/>
              <a:gd name="T6" fmla="*/ 47 w 47"/>
              <a:gd name="T7" fmla="*/ 19 h 40"/>
              <a:gd name="T8" fmla="*/ 12 w 47"/>
              <a:gd name="T9" fmla="*/ 0 h 40"/>
            </a:gdLst>
            <a:ahLst/>
            <a:cxnLst>
              <a:cxn ang="0">
                <a:pos x="T0" y="T1"/>
              </a:cxn>
              <a:cxn ang="0">
                <a:pos x="T2" y="T3"/>
              </a:cxn>
              <a:cxn ang="0">
                <a:pos x="T4" y="T5"/>
              </a:cxn>
              <a:cxn ang="0">
                <a:pos x="T6" y="T7"/>
              </a:cxn>
              <a:cxn ang="0">
                <a:pos x="T8" y="T9"/>
              </a:cxn>
            </a:cxnLst>
            <a:rect l="0" t="0" r="r" b="b"/>
            <a:pathLst>
              <a:path w="47" h="40">
                <a:moveTo>
                  <a:pt x="12" y="0"/>
                </a:moveTo>
                <a:lnTo>
                  <a:pt x="0" y="21"/>
                </a:lnTo>
                <a:lnTo>
                  <a:pt x="36" y="40"/>
                </a:lnTo>
                <a:lnTo>
                  <a:pt x="47" y="19"/>
                </a:lnTo>
                <a:lnTo>
                  <a:pt x="12"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5" name="Freeform 98"/>
          <p:cNvSpPr>
            <a:spLocks/>
          </p:cNvSpPr>
          <p:nvPr userDrawn="1"/>
        </p:nvSpPr>
        <p:spPr bwMode="auto">
          <a:xfrm>
            <a:off x="10221733" y="2205581"/>
            <a:ext cx="46689" cy="48252"/>
          </a:xfrm>
          <a:custGeom>
            <a:avLst/>
            <a:gdLst>
              <a:gd name="T0" fmla="*/ 30 w 30"/>
              <a:gd name="T1" fmla="*/ 10 h 31"/>
              <a:gd name="T2" fmla="*/ 18 w 30"/>
              <a:gd name="T3" fmla="*/ 31 h 31"/>
              <a:gd name="T4" fmla="*/ 0 w 30"/>
              <a:gd name="T5" fmla="*/ 21 h 31"/>
              <a:gd name="T6" fmla="*/ 12 w 30"/>
              <a:gd name="T7" fmla="*/ 0 h 31"/>
              <a:gd name="T8" fmla="*/ 30 w 30"/>
              <a:gd name="T9" fmla="*/ 10 h 31"/>
            </a:gdLst>
            <a:ahLst/>
            <a:cxnLst>
              <a:cxn ang="0">
                <a:pos x="T0" y="T1"/>
              </a:cxn>
              <a:cxn ang="0">
                <a:pos x="T2" y="T3"/>
              </a:cxn>
              <a:cxn ang="0">
                <a:pos x="T4" y="T5"/>
              </a:cxn>
              <a:cxn ang="0">
                <a:pos x="T6" y="T7"/>
              </a:cxn>
              <a:cxn ang="0">
                <a:pos x="T8" y="T9"/>
              </a:cxn>
            </a:cxnLst>
            <a:rect l="0" t="0" r="r" b="b"/>
            <a:pathLst>
              <a:path w="30" h="31">
                <a:moveTo>
                  <a:pt x="30" y="10"/>
                </a:moveTo>
                <a:lnTo>
                  <a:pt x="18" y="31"/>
                </a:lnTo>
                <a:lnTo>
                  <a:pt x="0" y="21"/>
                </a:lnTo>
                <a:lnTo>
                  <a:pt x="12" y="0"/>
                </a:lnTo>
                <a:lnTo>
                  <a:pt x="30" y="1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6" name="Freeform 99"/>
          <p:cNvSpPr>
            <a:spLocks/>
          </p:cNvSpPr>
          <p:nvPr userDrawn="1"/>
        </p:nvSpPr>
        <p:spPr bwMode="auto">
          <a:xfrm>
            <a:off x="10237296" y="2152659"/>
            <a:ext cx="113610" cy="101174"/>
          </a:xfrm>
          <a:custGeom>
            <a:avLst/>
            <a:gdLst>
              <a:gd name="T0" fmla="*/ 63 w 65"/>
              <a:gd name="T1" fmla="*/ 31 h 59"/>
              <a:gd name="T2" fmla="*/ 60 w 65"/>
              <a:gd name="T3" fmla="*/ 21 h 59"/>
              <a:gd name="T4" fmla="*/ 42 w 65"/>
              <a:gd name="T5" fmla="*/ 11 h 59"/>
              <a:gd name="T6" fmla="*/ 35 w 65"/>
              <a:gd name="T7" fmla="*/ 7 h 59"/>
              <a:gd name="T8" fmla="*/ 28 w 65"/>
              <a:gd name="T9" fmla="*/ 3 h 59"/>
              <a:gd name="T10" fmla="*/ 26 w 65"/>
              <a:gd name="T11" fmla="*/ 2 h 59"/>
              <a:gd name="T12" fmla="*/ 15 w 65"/>
              <a:gd name="T13" fmla="*/ 6 h 59"/>
              <a:gd name="T14" fmla="*/ 0 w 65"/>
              <a:gd name="T15" fmla="*/ 33 h 59"/>
              <a:gd name="T16" fmla="*/ 16 w 65"/>
              <a:gd name="T17" fmla="*/ 42 h 59"/>
              <a:gd name="T18" fmla="*/ 48 w 65"/>
              <a:gd name="T19" fmla="*/ 59 h 59"/>
              <a:gd name="T20" fmla="*/ 63 w 65"/>
              <a:gd name="T21" fmla="*/ 3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59">
                <a:moveTo>
                  <a:pt x="63" y="31"/>
                </a:moveTo>
                <a:cubicBezTo>
                  <a:pt x="65" y="27"/>
                  <a:pt x="64" y="23"/>
                  <a:pt x="60" y="21"/>
                </a:cubicBezTo>
                <a:cubicBezTo>
                  <a:pt x="42" y="11"/>
                  <a:pt x="42" y="11"/>
                  <a:pt x="42" y="11"/>
                </a:cubicBezTo>
                <a:cubicBezTo>
                  <a:pt x="40" y="10"/>
                  <a:pt x="37" y="9"/>
                  <a:pt x="35" y="7"/>
                </a:cubicBezTo>
                <a:cubicBezTo>
                  <a:pt x="32" y="6"/>
                  <a:pt x="30" y="5"/>
                  <a:pt x="28" y="3"/>
                </a:cubicBezTo>
                <a:cubicBezTo>
                  <a:pt x="26" y="2"/>
                  <a:pt x="26" y="2"/>
                  <a:pt x="26" y="2"/>
                </a:cubicBezTo>
                <a:cubicBezTo>
                  <a:pt x="22" y="0"/>
                  <a:pt x="17" y="2"/>
                  <a:pt x="15" y="6"/>
                </a:cubicBezTo>
                <a:cubicBezTo>
                  <a:pt x="0" y="33"/>
                  <a:pt x="0" y="33"/>
                  <a:pt x="0" y="33"/>
                </a:cubicBezTo>
                <a:cubicBezTo>
                  <a:pt x="16" y="42"/>
                  <a:pt x="16" y="42"/>
                  <a:pt x="16" y="42"/>
                </a:cubicBezTo>
                <a:cubicBezTo>
                  <a:pt x="48" y="59"/>
                  <a:pt x="48" y="59"/>
                  <a:pt x="48" y="59"/>
                </a:cubicBezTo>
                <a:lnTo>
                  <a:pt x="63" y="31"/>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7" name="Freeform 100"/>
          <p:cNvSpPr>
            <a:spLocks/>
          </p:cNvSpPr>
          <p:nvPr userDrawn="1"/>
        </p:nvSpPr>
        <p:spPr bwMode="auto">
          <a:xfrm>
            <a:off x="10237296" y="2152659"/>
            <a:ext cx="60696" cy="71600"/>
          </a:xfrm>
          <a:custGeom>
            <a:avLst/>
            <a:gdLst>
              <a:gd name="T0" fmla="*/ 16 w 35"/>
              <a:gd name="T1" fmla="*/ 42 h 42"/>
              <a:gd name="T2" fmla="*/ 35 w 35"/>
              <a:gd name="T3" fmla="*/ 7 h 42"/>
              <a:gd name="T4" fmla="*/ 28 w 35"/>
              <a:gd name="T5" fmla="*/ 3 h 42"/>
              <a:gd name="T6" fmla="*/ 26 w 35"/>
              <a:gd name="T7" fmla="*/ 2 h 42"/>
              <a:gd name="T8" fmla="*/ 15 w 35"/>
              <a:gd name="T9" fmla="*/ 6 h 42"/>
              <a:gd name="T10" fmla="*/ 0 w 35"/>
              <a:gd name="T11" fmla="*/ 33 h 42"/>
              <a:gd name="T12" fmla="*/ 16 w 35"/>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35" h="42">
                <a:moveTo>
                  <a:pt x="16" y="42"/>
                </a:moveTo>
                <a:cubicBezTo>
                  <a:pt x="35" y="7"/>
                  <a:pt x="35" y="7"/>
                  <a:pt x="35" y="7"/>
                </a:cubicBezTo>
                <a:cubicBezTo>
                  <a:pt x="32" y="6"/>
                  <a:pt x="30" y="5"/>
                  <a:pt x="28" y="3"/>
                </a:cubicBezTo>
                <a:cubicBezTo>
                  <a:pt x="26" y="2"/>
                  <a:pt x="26" y="2"/>
                  <a:pt x="26" y="2"/>
                </a:cubicBezTo>
                <a:cubicBezTo>
                  <a:pt x="22" y="0"/>
                  <a:pt x="17" y="2"/>
                  <a:pt x="15" y="6"/>
                </a:cubicBezTo>
                <a:cubicBezTo>
                  <a:pt x="0" y="33"/>
                  <a:pt x="0" y="33"/>
                  <a:pt x="0" y="33"/>
                </a:cubicBezTo>
                <a:lnTo>
                  <a:pt x="16" y="42"/>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8" name="Freeform 101"/>
          <p:cNvSpPr>
            <a:spLocks/>
          </p:cNvSpPr>
          <p:nvPr userDrawn="1"/>
        </p:nvSpPr>
        <p:spPr bwMode="auto">
          <a:xfrm>
            <a:off x="9799977" y="2238267"/>
            <a:ext cx="449769" cy="800048"/>
          </a:xfrm>
          <a:custGeom>
            <a:avLst/>
            <a:gdLst>
              <a:gd name="T0" fmla="*/ 271 w 289"/>
              <a:gd name="T1" fmla="*/ 0 h 514"/>
              <a:gd name="T2" fmla="*/ 0 w 289"/>
              <a:gd name="T3" fmla="*/ 504 h 514"/>
              <a:gd name="T4" fmla="*/ 18 w 289"/>
              <a:gd name="T5" fmla="*/ 514 h 514"/>
              <a:gd name="T6" fmla="*/ 289 w 289"/>
              <a:gd name="T7" fmla="*/ 10 h 514"/>
              <a:gd name="T8" fmla="*/ 271 w 289"/>
              <a:gd name="T9" fmla="*/ 0 h 514"/>
            </a:gdLst>
            <a:ahLst/>
            <a:cxnLst>
              <a:cxn ang="0">
                <a:pos x="T0" y="T1"/>
              </a:cxn>
              <a:cxn ang="0">
                <a:pos x="T2" y="T3"/>
              </a:cxn>
              <a:cxn ang="0">
                <a:pos x="T4" y="T5"/>
              </a:cxn>
              <a:cxn ang="0">
                <a:pos x="T6" y="T7"/>
              </a:cxn>
              <a:cxn ang="0">
                <a:pos x="T8" y="T9"/>
              </a:cxn>
            </a:cxnLst>
            <a:rect l="0" t="0" r="r" b="b"/>
            <a:pathLst>
              <a:path w="289" h="514">
                <a:moveTo>
                  <a:pt x="271" y="0"/>
                </a:moveTo>
                <a:lnTo>
                  <a:pt x="0" y="504"/>
                </a:lnTo>
                <a:lnTo>
                  <a:pt x="18" y="514"/>
                </a:lnTo>
                <a:lnTo>
                  <a:pt x="289" y="10"/>
                </a:lnTo>
                <a:lnTo>
                  <a:pt x="271"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9" name="Freeform 102"/>
          <p:cNvSpPr>
            <a:spLocks/>
          </p:cNvSpPr>
          <p:nvPr userDrawn="1"/>
        </p:nvSpPr>
        <p:spPr bwMode="auto">
          <a:xfrm>
            <a:off x="9782858" y="2599379"/>
            <a:ext cx="149404" cy="353329"/>
          </a:xfrm>
          <a:custGeom>
            <a:avLst/>
            <a:gdLst>
              <a:gd name="T0" fmla="*/ 56 w 86"/>
              <a:gd name="T1" fmla="*/ 203 h 205"/>
              <a:gd name="T2" fmla="*/ 21 w 86"/>
              <a:gd name="T3" fmla="*/ 175 h 205"/>
              <a:gd name="T4" fmla="*/ 2 w 86"/>
              <a:gd name="T5" fmla="*/ 37 h 205"/>
              <a:gd name="T6" fmla="*/ 30 w 86"/>
              <a:gd name="T7" fmla="*/ 2 h 205"/>
              <a:gd name="T8" fmla="*/ 65 w 86"/>
              <a:gd name="T9" fmla="*/ 30 h 205"/>
              <a:gd name="T10" fmla="*/ 84 w 86"/>
              <a:gd name="T11" fmla="*/ 168 h 205"/>
              <a:gd name="T12" fmla="*/ 56 w 86"/>
              <a:gd name="T13" fmla="*/ 203 h 205"/>
            </a:gdLst>
            <a:ahLst/>
            <a:cxnLst>
              <a:cxn ang="0">
                <a:pos x="T0" y="T1"/>
              </a:cxn>
              <a:cxn ang="0">
                <a:pos x="T2" y="T3"/>
              </a:cxn>
              <a:cxn ang="0">
                <a:pos x="T4" y="T5"/>
              </a:cxn>
              <a:cxn ang="0">
                <a:pos x="T6" y="T7"/>
              </a:cxn>
              <a:cxn ang="0">
                <a:pos x="T8" y="T9"/>
              </a:cxn>
              <a:cxn ang="0">
                <a:pos x="T10" y="T11"/>
              </a:cxn>
              <a:cxn ang="0">
                <a:pos x="T12" y="T13"/>
              </a:cxn>
            </a:cxnLst>
            <a:rect l="0" t="0" r="r" b="b"/>
            <a:pathLst>
              <a:path w="86" h="205">
                <a:moveTo>
                  <a:pt x="56" y="203"/>
                </a:moveTo>
                <a:cubicBezTo>
                  <a:pt x="38" y="205"/>
                  <a:pt x="23" y="193"/>
                  <a:pt x="21" y="175"/>
                </a:cubicBezTo>
                <a:cubicBezTo>
                  <a:pt x="2" y="37"/>
                  <a:pt x="2" y="37"/>
                  <a:pt x="2" y="37"/>
                </a:cubicBezTo>
                <a:cubicBezTo>
                  <a:pt x="0" y="20"/>
                  <a:pt x="12" y="4"/>
                  <a:pt x="30" y="2"/>
                </a:cubicBezTo>
                <a:cubicBezTo>
                  <a:pt x="47" y="0"/>
                  <a:pt x="63" y="13"/>
                  <a:pt x="65" y="30"/>
                </a:cubicBezTo>
                <a:cubicBezTo>
                  <a:pt x="84" y="168"/>
                  <a:pt x="84" y="168"/>
                  <a:pt x="84" y="168"/>
                </a:cubicBezTo>
                <a:cubicBezTo>
                  <a:pt x="86" y="186"/>
                  <a:pt x="73" y="201"/>
                  <a:pt x="56" y="203"/>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0" name="Freeform 103"/>
          <p:cNvSpPr>
            <a:spLocks/>
          </p:cNvSpPr>
          <p:nvPr userDrawn="1"/>
        </p:nvSpPr>
        <p:spPr bwMode="auto">
          <a:xfrm>
            <a:off x="9918255" y="2792386"/>
            <a:ext cx="462220" cy="249042"/>
          </a:xfrm>
          <a:custGeom>
            <a:avLst/>
            <a:gdLst>
              <a:gd name="T0" fmla="*/ 6 w 266"/>
              <a:gd name="T1" fmla="*/ 109 h 144"/>
              <a:gd name="T2" fmla="*/ 35 w 266"/>
              <a:gd name="T3" fmla="*/ 58 h 144"/>
              <a:gd name="T4" fmla="*/ 209 w 266"/>
              <a:gd name="T5" fmla="*/ 6 h 144"/>
              <a:gd name="T6" fmla="*/ 260 w 266"/>
              <a:gd name="T7" fmla="*/ 35 h 144"/>
              <a:gd name="T8" fmla="*/ 231 w 266"/>
              <a:gd name="T9" fmla="*/ 86 h 144"/>
              <a:gd name="T10" fmla="*/ 57 w 266"/>
              <a:gd name="T11" fmla="*/ 138 h 144"/>
              <a:gd name="T12" fmla="*/ 6 w 266"/>
              <a:gd name="T13" fmla="*/ 109 h 144"/>
            </a:gdLst>
            <a:ahLst/>
            <a:cxnLst>
              <a:cxn ang="0">
                <a:pos x="T0" y="T1"/>
              </a:cxn>
              <a:cxn ang="0">
                <a:pos x="T2" y="T3"/>
              </a:cxn>
              <a:cxn ang="0">
                <a:pos x="T4" y="T5"/>
              </a:cxn>
              <a:cxn ang="0">
                <a:pos x="T6" y="T7"/>
              </a:cxn>
              <a:cxn ang="0">
                <a:pos x="T8" y="T9"/>
              </a:cxn>
              <a:cxn ang="0">
                <a:pos x="T10" y="T11"/>
              </a:cxn>
              <a:cxn ang="0">
                <a:pos x="T12" y="T13"/>
              </a:cxn>
            </a:cxnLst>
            <a:rect l="0" t="0" r="r" b="b"/>
            <a:pathLst>
              <a:path w="266" h="144">
                <a:moveTo>
                  <a:pt x="6" y="109"/>
                </a:moveTo>
                <a:cubicBezTo>
                  <a:pt x="0" y="87"/>
                  <a:pt x="13" y="64"/>
                  <a:pt x="35" y="58"/>
                </a:cubicBezTo>
                <a:cubicBezTo>
                  <a:pt x="209" y="6"/>
                  <a:pt x="209" y="6"/>
                  <a:pt x="209" y="6"/>
                </a:cubicBezTo>
                <a:cubicBezTo>
                  <a:pt x="231" y="0"/>
                  <a:pt x="254" y="13"/>
                  <a:pt x="260" y="35"/>
                </a:cubicBezTo>
                <a:cubicBezTo>
                  <a:pt x="266" y="57"/>
                  <a:pt x="253" y="79"/>
                  <a:pt x="231" y="86"/>
                </a:cubicBezTo>
                <a:cubicBezTo>
                  <a:pt x="57" y="138"/>
                  <a:pt x="57" y="138"/>
                  <a:pt x="57" y="138"/>
                </a:cubicBezTo>
                <a:cubicBezTo>
                  <a:pt x="35" y="144"/>
                  <a:pt x="12" y="131"/>
                  <a:pt x="6" y="10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1" name="Freeform 104"/>
          <p:cNvSpPr>
            <a:spLocks/>
          </p:cNvSpPr>
          <p:nvPr userDrawn="1"/>
        </p:nvSpPr>
        <p:spPr bwMode="auto">
          <a:xfrm>
            <a:off x="9949382" y="2692769"/>
            <a:ext cx="602286" cy="345546"/>
          </a:xfrm>
          <a:custGeom>
            <a:avLst/>
            <a:gdLst>
              <a:gd name="T0" fmla="*/ 120 w 347"/>
              <a:gd name="T1" fmla="*/ 151 h 200"/>
              <a:gd name="T2" fmla="*/ 0 w 347"/>
              <a:gd name="T3" fmla="*/ 187 h 200"/>
              <a:gd name="T4" fmla="*/ 39 w 347"/>
              <a:gd name="T5" fmla="*/ 196 h 200"/>
              <a:gd name="T6" fmla="*/ 213 w 347"/>
              <a:gd name="T7" fmla="*/ 144 h 200"/>
              <a:gd name="T8" fmla="*/ 340 w 347"/>
              <a:gd name="T9" fmla="*/ 0 h 200"/>
              <a:gd name="T10" fmla="*/ 120 w 347"/>
              <a:gd name="T11" fmla="*/ 151 h 200"/>
            </a:gdLst>
            <a:ahLst/>
            <a:cxnLst>
              <a:cxn ang="0">
                <a:pos x="T0" y="T1"/>
              </a:cxn>
              <a:cxn ang="0">
                <a:pos x="T2" y="T3"/>
              </a:cxn>
              <a:cxn ang="0">
                <a:pos x="T4" y="T5"/>
              </a:cxn>
              <a:cxn ang="0">
                <a:pos x="T6" y="T7"/>
              </a:cxn>
              <a:cxn ang="0">
                <a:pos x="T8" y="T9"/>
              </a:cxn>
              <a:cxn ang="0">
                <a:pos x="T10" y="T11"/>
              </a:cxn>
            </a:cxnLst>
            <a:rect l="0" t="0" r="r" b="b"/>
            <a:pathLst>
              <a:path w="347" h="200">
                <a:moveTo>
                  <a:pt x="120" y="151"/>
                </a:moveTo>
                <a:cubicBezTo>
                  <a:pt x="0" y="187"/>
                  <a:pt x="0" y="187"/>
                  <a:pt x="0" y="187"/>
                </a:cubicBezTo>
                <a:cubicBezTo>
                  <a:pt x="10" y="196"/>
                  <a:pt x="25" y="200"/>
                  <a:pt x="39" y="196"/>
                </a:cubicBezTo>
                <a:cubicBezTo>
                  <a:pt x="213" y="144"/>
                  <a:pt x="213" y="144"/>
                  <a:pt x="213" y="144"/>
                </a:cubicBezTo>
                <a:cubicBezTo>
                  <a:pt x="347" y="103"/>
                  <a:pt x="341" y="8"/>
                  <a:pt x="340" y="0"/>
                </a:cubicBezTo>
                <a:cubicBezTo>
                  <a:pt x="340" y="0"/>
                  <a:pt x="321" y="97"/>
                  <a:pt x="120" y="151"/>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2" name="Freeform 105"/>
          <p:cNvSpPr>
            <a:spLocks/>
          </p:cNvSpPr>
          <p:nvPr userDrawn="1"/>
        </p:nvSpPr>
        <p:spPr bwMode="auto">
          <a:xfrm>
            <a:off x="10643488" y="2168225"/>
            <a:ext cx="901094" cy="565015"/>
          </a:xfrm>
          <a:custGeom>
            <a:avLst/>
            <a:gdLst>
              <a:gd name="T0" fmla="*/ 519 w 519"/>
              <a:gd name="T1" fmla="*/ 0 h 328"/>
              <a:gd name="T2" fmla="*/ 0 w 519"/>
              <a:gd name="T3" fmla="*/ 83 h 328"/>
              <a:gd name="T4" fmla="*/ 12 w 519"/>
              <a:gd name="T5" fmla="*/ 328 h 328"/>
              <a:gd name="T6" fmla="*/ 519 w 519"/>
              <a:gd name="T7" fmla="*/ 323 h 328"/>
              <a:gd name="T8" fmla="*/ 519 w 519"/>
              <a:gd name="T9" fmla="*/ 0 h 328"/>
            </a:gdLst>
            <a:ahLst/>
            <a:cxnLst>
              <a:cxn ang="0">
                <a:pos x="T0" y="T1"/>
              </a:cxn>
              <a:cxn ang="0">
                <a:pos x="T2" y="T3"/>
              </a:cxn>
              <a:cxn ang="0">
                <a:pos x="T4" y="T5"/>
              </a:cxn>
              <a:cxn ang="0">
                <a:pos x="T6" y="T7"/>
              </a:cxn>
              <a:cxn ang="0">
                <a:pos x="T8" y="T9"/>
              </a:cxn>
            </a:cxnLst>
            <a:rect l="0" t="0" r="r" b="b"/>
            <a:pathLst>
              <a:path w="519" h="328">
                <a:moveTo>
                  <a:pt x="519" y="0"/>
                </a:moveTo>
                <a:cubicBezTo>
                  <a:pt x="382" y="22"/>
                  <a:pt x="0" y="83"/>
                  <a:pt x="0" y="83"/>
                </a:cubicBezTo>
                <a:cubicBezTo>
                  <a:pt x="12" y="328"/>
                  <a:pt x="12" y="328"/>
                  <a:pt x="12" y="328"/>
                </a:cubicBezTo>
                <a:cubicBezTo>
                  <a:pt x="12" y="328"/>
                  <a:pt x="391" y="326"/>
                  <a:pt x="519" y="323"/>
                </a:cubicBezTo>
                <a:cubicBezTo>
                  <a:pt x="519" y="0"/>
                  <a:pt x="519" y="0"/>
                  <a:pt x="519" y="0"/>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3" name="Freeform 106"/>
          <p:cNvSpPr>
            <a:spLocks/>
          </p:cNvSpPr>
          <p:nvPr userDrawn="1"/>
        </p:nvSpPr>
        <p:spPr bwMode="auto">
          <a:xfrm>
            <a:off x="10785111" y="2656969"/>
            <a:ext cx="759471" cy="76270"/>
          </a:xfrm>
          <a:custGeom>
            <a:avLst/>
            <a:gdLst>
              <a:gd name="T0" fmla="*/ 437 w 437"/>
              <a:gd name="T1" fmla="*/ 0 h 45"/>
              <a:gd name="T2" fmla="*/ 437 w 437"/>
              <a:gd name="T3" fmla="*/ 0 h 45"/>
              <a:gd name="T4" fmla="*/ 437 w 437"/>
              <a:gd name="T5" fmla="*/ 40 h 45"/>
              <a:gd name="T6" fmla="*/ 0 w 437"/>
              <a:gd name="T7" fmla="*/ 45 h 45"/>
              <a:gd name="T8" fmla="*/ 0 w 437"/>
              <a:gd name="T9" fmla="*/ 45 h 45"/>
              <a:gd name="T10" fmla="*/ 437 w 437"/>
              <a:gd name="T11" fmla="*/ 43 h 45"/>
              <a:gd name="T12" fmla="*/ 437 w 43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37" h="45">
                <a:moveTo>
                  <a:pt x="437" y="0"/>
                </a:moveTo>
                <a:cubicBezTo>
                  <a:pt x="437" y="0"/>
                  <a:pt x="437" y="0"/>
                  <a:pt x="437" y="0"/>
                </a:cubicBezTo>
                <a:cubicBezTo>
                  <a:pt x="437" y="40"/>
                  <a:pt x="437" y="40"/>
                  <a:pt x="437" y="40"/>
                </a:cubicBezTo>
                <a:cubicBezTo>
                  <a:pt x="344" y="42"/>
                  <a:pt x="116" y="44"/>
                  <a:pt x="0" y="45"/>
                </a:cubicBezTo>
                <a:cubicBezTo>
                  <a:pt x="0" y="45"/>
                  <a:pt x="0" y="45"/>
                  <a:pt x="0" y="45"/>
                </a:cubicBezTo>
                <a:cubicBezTo>
                  <a:pt x="437" y="43"/>
                  <a:pt x="437" y="43"/>
                  <a:pt x="437" y="43"/>
                </a:cubicBezTo>
                <a:cubicBezTo>
                  <a:pt x="437" y="0"/>
                  <a:pt x="437" y="0"/>
                  <a:pt x="437" y="0"/>
                </a:cubicBezTo>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4" name="Freeform 107"/>
          <p:cNvSpPr>
            <a:spLocks/>
          </p:cNvSpPr>
          <p:nvPr userDrawn="1"/>
        </p:nvSpPr>
        <p:spPr bwMode="auto">
          <a:xfrm>
            <a:off x="10694847" y="2733238"/>
            <a:ext cx="90265" cy="0"/>
          </a:xfrm>
          <a:custGeom>
            <a:avLst/>
            <a:gdLst>
              <a:gd name="T0" fmla="*/ 52 w 52"/>
              <a:gd name="T1" fmla="*/ 0 w 52"/>
              <a:gd name="T2" fmla="*/ 0 w 52"/>
              <a:gd name="T3" fmla="*/ 52 w 52"/>
              <a:gd name="T4" fmla="*/ 52 w 52"/>
            </a:gdLst>
            <a:ahLst/>
            <a:cxnLst>
              <a:cxn ang="0">
                <a:pos x="T0" y="0"/>
              </a:cxn>
              <a:cxn ang="0">
                <a:pos x="T1" y="0"/>
              </a:cxn>
              <a:cxn ang="0">
                <a:pos x="T2" y="0"/>
              </a:cxn>
              <a:cxn ang="0">
                <a:pos x="T3" y="0"/>
              </a:cxn>
              <a:cxn ang="0">
                <a:pos x="T4" y="0"/>
              </a:cxn>
            </a:cxnLst>
            <a:rect l="0" t="0" r="r" b="b"/>
            <a:pathLst>
              <a:path w="52">
                <a:moveTo>
                  <a:pt x="52" y="0"/>
                </a:moveTo>
                <a:cubicBezTo>
                  <a:pt x="30" y="0"/>
                  <a:pt x="12" y="0"/>
                  <a:pt x="0" y="0"/>
                </a:cubicBezTo>
                <a:cubicBezTo>
                  <a:pt x="0" y="0"/>
                  <a:pt x="0" y="0"/>
                  <a:pt x="0" y="0"/>
                </a:cubicBezTo>
                <a:cubicBezTo>
                  <a:pt x="52" y="0"/>
                  <a:pt x="52" y="0"/>
                  <a:pt x="52" y="0"/>
                </a:cubicBezTo>
                <a:cubicBezTo>
                  <a:pt x="52" y="0"/>
                  <a:pt x="52" y="0"/>
                  <a:pt x="52" y="0"/>
                </a:cubicBezTo>
              </a:path>
            </a:pathLst>
          </a:custGeom>
          <a:solidFill>
            <a:srgbClr val="A7C20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5" name="Freeform 108"/>
          <p:cNvSpPr>
            <a:spLocks/>
          </p:cNvSpPr>
          <p:nvPr userDrawn="1"/>
        </p:nvSpPr>
        <p:spPr bwMode="auto">
          <a:xfrm>
            <a:off x="10662163" y="2706778"/>
            <a:ext cx="32683" cy="26461"/>
          </a:xfrm>
          <a:custGeom>
            <a:avLst/>
            <a:gdLst>
              <a:gd name="T0" fmla="*/ 0 w 19"/>
              <a:gd name="T1" fmla="*/ 0 h 16"/>
              <a:gd name="T2" fmla="*/ 0 w 19"/>
              <a:gd name="T3" fmla="*/ 0 h 16"/>
              <a:gd name="T4" fmla="*/ 1 w 19"/>
              <a:gd name="T5" fmla="*/ 16 h 16"/>
              <a:gd name="T6" fmla="*/ 19 w 19"/>
              <a:gd name="T7" fmla="*/ 16 h 16"/>
              <a:gd name="T8" fmla="*/ 19 w 19"/>
              <a:gd name="T9" fmla="*/ 16 h 16"/>
              <a:gd name="T10" fmla="*/ 1 w 19"/>
              <a:gd name="T11" fmla="*/ 16 h 16"/>
              <a:gd name="T12" fmla="*/ 0 w 19"/>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9" h="16">
                <a:moveTo>
                  <a:pt x="0" y="0"/>
                </a:moveTo>
                <a:cubicBezTo>
                  <a:pt x="0" y="0"/>
                  <a:pt x="0" y="0"/>
                  <a:pt x="0" y="0"/>
                </a:cubicBezTo>
                <a:cubicBezTo>
                  <a:pt x="1" y="16"/>
                  <a:pt x="1" y="16"/>
                  <a:pt x="1" y="16"/>
                </a:cubicBezTo>
                <a:cubicBezTo>
                  <a:pt x="19" y="16"/>
                  <a:pt x="19" y="16"/>
                  <a:pt x="19" y="16"/>
                </a:cubicBezTo>
                <a:cubicBezTo>
                  <a:pt x="19" y="16"/>
                  <a:pt x="19" y="16"/>
                  <a:pt x="19" y="16"/>
                </a:cubicBezTo>
                <a:cubicBezTo>
                  <a:pt x="7" y="16"/>
                  <a:pt x="1" y="16"/>
                  <a:pt x="1" y="16"/>
                </a:cubicBezTo>
                <a:cubicBezTo>
                  <a:pt x="0" y="0"/>
                  <a:pt x="0" y="0"/>
                  <a:pt x="0" y="0"/>
                </a:cubicBezTo>
              </a:path>
            </a:pathLst>
          </a:custGeom>
          <a:solidFill>
            <a:srgbClr val="DADA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6" name="Rectangle 109"/>
          <p:cNvSpPr>
            <a:spLocks noChangeArrowheads="1"/>
          </p:cNvSpPr>
          <p:nvPr userDrawn="1"/>
        </p:nvSpPr>
        <p:spPr bwMode="auto">
          <a:xfrm>
            <a:off x="10662163" y="2680317"/>
            <a:ext cx="1557" cy="26461"/>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7" name="Rectangle 110"/>
          <p:cNvSpPr>
            <a:spLocks noChangeArrowheads="1"/>
          </p:cNvSpPr>
          <p:nvPr userDrawn="1"/>
        </p:nvSpPr>
        <p:spPr bwMode="auto">
          <a:xfrm>
            <a:off x="10662163" y="2680317"/>
            <a:ext cx="1557" cy="2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8" name="Freeform 111"/>
          <p:cNvSpPr>
            <a:spLocks/>
          </p:cNvSpPr>
          <p:nvPr userDrawn="1"/>
        </p:nvSpPr>
        <p:spPr bwMode="auto">
          <a:xfrm>
            <a:off x="10662164" y="2656969"/>
            <a:ext cx="882419" cy="76270"/>
          </a:xfrm>
          <a:custGeom>
            <a:avLst/>
            <a:gdLst>
              <a:gd name="T0" fmla="*/ 508 w 508"/>
              <a:gd name="T1" fmla="*/ 0 h 45"/>
              <a:gd name="T2" fmla="*/ 0 w 508"/>
              <a:gd name="T3" fmla="*/ 14 h 45"/>
              <a:gd name="T4" fmla="*/ 0 w 508"/>
              <a:gd name="T5" fmla="*/ 29 h 45"/>
              <a:gd name="T6" fmla="*/ 1 w 508"/>
              <a:gd name="T7" fmla="*/ 45 h 45"/>
              <a:gd name="T8" fmla="*/ 19 w 508"/>
              <a:gd name="T9" fmla="*/ 45 h 45"/>
              <a:gd name="T10" fmla="*/ 71 w 508"/>
              <a:gd name="T11" fmla="*/ 45 h 45"/>
              <a:gd name="T12" fmla="*/ 508 w 508"/>
              <a:gd name="T13" fmla="*/ 40 h 45"/>
              <a:gd name="T14" fmla="*/ 508 w 508"/>
              <a:gd name="T15" fmla="*/ 0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8" h="45">
                <a:moveTo>
                  <a:pt x="508" y="0"/>
                </a:moveTo>
                <a:cubicBezTo>
                  <a:pt x="0" y="14"/>
                  <a:pt x="0" y="14"/>
                  <a:pt x="0" y="14"/>
                </a:cubicBezTo>
                <a:cubicBezTo>
                  <a:pt x="0" y="29"/>
                  <a:pt x="0" y="29"/>
                  <a:pt x="0" y="29"/>
                </a:cubicBezTo>
                <a:cubicBezTo>
                  <a:pt x="1" y="45"/>
                  <a:pt x="1" y="45"/>
                  <a:pt x="1" y="45"/>
                </a:cubicBezTo>
                <a:cubicBezTo>
                  <a:pt x="1" y="45"/>
                  <a:pt x="7" y="45"/>
                  <a:pt x="19" y="45"/>
                </a:cubicBezTo>
                <a:cubicBezTo>
                  <a:pt x="31" y="45"/>
                  <a:pt x="49" y="45"/>
                  <a:pt x="71" y="45"/>
                </a:cubicBezTo>
                <a:cubicBezTo>
                  <a:pt x="187" y="44"/>
                  <a:pt x="415" y="42"/>
                  <a:pt x="508" y="40"/>
                </a:cubicBezTo>
                <a:cubicBezTo>
                  <a:pt x="508" y="0"/>
                  <a:pt x="508" y="0"/>
                  <a:pt x="508"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49" name="Freeform 112"/>
          <p:cNvSpPr>
            <a:spLocks noEditPoints="1"/>
          </p:cNvSpPr>
          <p:nvPr userDrawn="1"/>
        </p:nvSpPr>
        <p:spPr bwMode="auto">
          <a:xfrm>
            <a:off x="8357293" y="1962764"/>
            <a:ext cx="1349307" cy="996169"/>
          </a:xfrm>
          <a:custGeom>
            <a:avLst/>
            <a:gdLst>
              <a:gd name="T0" fmla="*/ 867 w 867"/>
              <a:gd name="T1" fmla="*/ 221 h 640"/>
              <a:gd name="T2" fmla="*/ 223 w 867"/>
              <a:gd name="T3" fmla="*/ 0 h 640"/>
              <a:gd name="T4" fmla="*/ 0 w 867"/>
              <a:gd name="T5" fmla="*/ 640 h 640"/>
              <a:gd name="T6" fmla="*/ 867 w 867"/>
              <a:gd name="T7" fmla="*/ 221 h 640"/>
              <a:gd name="T8" fmla="*/ 291 w 867"/>
              <a:gd name="T9" fmla="*/ 134 h 640"/>
              <a:gd name="T10" fmla="*/ 594 w 867"/>
              <a:gd name="T11" fmla="*/ 238 h 640"/>
              <a:gd name="T12" fmla="*/ 186 w 867"/>
              <a:gd name="T13" fmla="*/ 434 h 640"/>
              <a:gd name="T14" fmla="*/ 291 w 867"/>
              <a:gd name="T15" fmla="*/ 134 h 6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640">
                <a:moveTo>
                  <a:pt x="867" y="221"/>
                </a:moveTo>
                <a:lnTo>
                  <a:pt x="223" y="0"/>
                </a:lnTo>
                <a:lnTo>
                  <a:pt x="0" y="640"/>
                </a:lnTo>
                <a:lnTo>
                  <a:pt x="867" y="221"/>
                </a:lnTo>
                <a:close/>
                <a:moveTo>
                  <a:pt x="291" y="134"/>
                </a:moveTo>
                <a:lnTo>
                  <a:pt x="594" y="238"/>
                </a:lnTo>
                <a:lnTo>
                  <a:pt x="186" y="434"/>
                </a:lnTo>
                <a:lnTo>
                  <a:pt x="291" y="134"/>
                </a:lnTo>
                <a:close/>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0" name="Freeform 113"/>
          <p:cNvSpPr>
            <a:spLocks noEditPoints="1"/>
          </p:cNvSpPr>
          <p:nvPr userDrawn="1"/>
        </p:nvSpPr>
        <p:spPr bwMode="auto">
          <a:xfrm>
            <a:off x="8357293" y="1962764"/>
            <a:ext cx="1349307" cy="996169"/>
          </a:xfrm>
          <a:custGeom>
            <a:avLst/>
            <a:gdLst>
              <a:gd name="T0" fmla="*/ 867 w 867"/>
              <a:gd name="T1" fmla="*/ 221 h 640"/>
              <a:gd name="T2" fmla="*/ 223 w 867"/>
              <a:gd name="T3" fmla="*/ 0 h 640"/>
              <a:gd name="T4" fmla="*/ 0 w 867"/>
              <a:gd name="T5" fmla="*/ 640 h 640"/>
              <a:gd name="T6" fmla="*/ 867 w 867"/>
              <a:gd name="T7" fmla="*/ 221 h 640"/>
              <a:gd name="T8" fmla="*/ 291 w 867"/>
              <a:gd name="T9" fmla="*/ 134 h 640"/>
              <a:gd name="T10" fmla="*/ 594 w 867"/>
              <a:gd name="T11" fmla="*/ 238 h 640"/>
              <a:gd name="T12" fmla="*/ 186 w 867"/>
              <a:gd name="T13" fmla="*/ 434 h 640"/>
              <a:gd name="T14" fmla="*/ 291 w 867"/>
              <a:gd name="T15" fmla="*/ 134 h 6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7" h="640">
                <a:moveTo>
                  <a:pt x="867" y="221"/>
                </a:moveTo>
                <a:lnTo>
                  <a:pt x="223" y="0"/>
                </a:lnTo>
                <a:lnTo>
                  <a:pt x="0" y="640"/>
                </a:lnTo>
                <a:lnTo>
                  <a:pt x="867" y="221"/>
                </a:lnTo>
                <a:moveTo>
                  <a:pt x="291" y="134"/>
                </a:moveTo>
                <a:lnTo>
                  <a:pt x="594" y="238"/>
                </a:lnTo>
                <a:lnTo>
                  <a:pt x="186" y="434"/>
                </a:lnTo>
                <a:lnTo>
                  <a:pt x="291" y="1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1" name="Freeform 114"/>
          <p:cNvSpPr>
            <a:spLocks/>
          </p:cNvSpPr>
          <p:nvPr userDrawn="1"/>
        </p:nvSpPr>
        <p:spPr bwMode="auto">
          <a:xfrm>
            <a:off x="8388419" y="2874881"/>
            <a:ext cx="51358" cy="57592"/>
          </a:xfrm>
          <a:custGeom>
            <a:avLst/>
            <a:gdLst>
              <a:gd name="T0" fmla="*/ 33 w 33"/>
              <a:gd name="T1" fmla="*/ 28 h 37"/>
              <a:gd name="T2" fmla="*/ 14 w 33"/>
              <a:gd name="T3" fmla="*/ 37 h 37"/>
              <a:gd name="T4" fmla="*/ 0 w 33"/>
              <a:gd name="T5" fmla="*/ 9 h 37"/>
              <a:gd name="T6" fmla="*/ 18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2" name="Freeform 115"/>
          <p:cNvSpPr>
            <a:spLocks/>
          </p:cNvSpPr>
          <p:nvPr userDrawn="1"/>
        </p:nvSpPr>
        <p:spPr bwMode="auto">
          <a:xfrm>
            <a:off x="8446002" y="2848421"/>
            <a:ext cx="49801" cy="56034"/>
          </a:xfrm>
          <a:custGeom>
            <a:avLst/>
            <a:gdLst>
              <a:gd name="T0" fmla="*/ 32 w 32"/>
              <a:gd name="T1" fmla="*/ 27 h 36"/>
              <a:gd name="T2" fmla="*/ 15 w 32"/>
              <a:gd name="T3" fmla="*/ 36 h 36"/>
              <a:gd name="T4" fmla="*/ 0 w 32"/>
              <a:gd name="T5" fmla="*/ 9 h 36"/>
              <a:gd name="T6" fmla="*/ 19 w 32"/>
              <a:gd name="T7" fmla="*/ 0 h 36"/>
              <a:gd name="T8" fmla="*/ 32 w 32"/>
              <a:gd name="T9" fmla="*/ 27 h 36"/>
            </a:gdLst>
            <a:ahLst/>
            <a:cxnLst>
              <a:cxn ang="0">
                <a:pos x="T0" y="T1"/>
              </a:cxn>
              <a:cxn ang="0">
                <a:pos x="T2" y="T3"/>
              </a:cxn>
              <a:cxn ang="0">
                <a:pos x="T4" y="T5"/>
              </a:cxn>
              <a:cxn ang="0">
                <a:pos x="T6" y="T7"/>
              </a:cxn>
              <a:cxn ang="0">
                <a:pos x="T8" y="T9"/>
              </a:cxn>
            </a:cxnLst>
            <a:rect l="0" t="0" r="r" b="b"/>
            <a:pathLst>
              <a:path w="32" h="36">
                <a:moveTo>
                  <a:pt x="32" y="27"/>
                </a:moveTo>
                <a:lnTo>
                  <a:pt x="15" y="36"/>
                </a:lnTo>
                <a:lnTo>
                  <a:pt x="0" y="9"/>
                </a:lnTo>
                <a:lnTo>
                  <a:pt x="19" y="0"/>
                </a:lnTo>
                <a:lnTo>
                  <a:pt x="32" y="27"/>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3" name="Freeform 116"/>
          <p:cNvSpPr>
            <a:spLocks/>
          </p:cNvSpPr>
          <p:nvPr userDrawn="1"/>
        </p:nvSpPr>
        <p:spPr bwMode="auto">
          <a:xfrm>
            <a:off x="8505141" y="2820403"/>
            <a:ext cx="48246" cy="57592"/>
          </a:xfrm>
          <a:custGeom>
            <a:avLst/>
            <a:gdLst>
              <a:gd name="T0" fmla="*/ 31 w 31"/>
              <a:gd name="T1" fmla="*/ 28 h 37"/>
              <a:gd name="T2" fmla="*/ 13 w 31"/>
              <a:gd name="T3" fmla="*/ 37 h 37"/>
              <a:gd name="T4" fmla="*/ 0 w 31"/>
              <a:gd name="T5" fmla="*/ 9 h 37"/>
              <a:gd name="T6" fmla="*/ 18 w 31"/>
              <a:gd name="T7" fmla="*/ 0 h 37"/>
              <a:gd name="T8" fmla="*/ 31 w 31"/>
              <a:gd name="T9" fmla="*/ 28 h 37"/>
            </a:gdLst>
            <a:ahLst/>
            <a:cxnLst>
              <a:cxn ang="0">
                <a:pos x="T0" y="T1"/>
              </a:cxn>
              <a:cxn ang="0">
                <a:pos x="T2" y="T3"/>
              </a:cxn>
              <a:cxn ang="0">
                <a:pos x="T4" y="T5"/>
              </a:cxn>
              <a:cxn ang="0">
                <a:pos x="T6" y="T7"/>
              </a:cxn>
              <a:cxn ang="0">
                <a:pos x="T8" y="T9"/>
              </a:cxn>
            </a:cxnLst>
            <a:rect l="0" t="0" r="r" b="b"/>
            <a:pathLst>
              <a:path w="31" h="37">
                <a:moveTo>
                  <a:pt x="31" y="28"/>
                </a:moveTo>
                <a:lnTo>
                  <a:pt x="13" y="37"/>
                </a:lnTo>
                <a:lnTo>
                  <a:pt x="0" y="9"/>
                </a:lnTo>
                <a:lnTo>
                  <a:pt x="18" y="0"/>
                </a:lnTo>
                <a:lnTo>
                  <a:pt x="31"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4" name="Freeform 117"/>
          <p:cNvSpPr>
            <a:spLocks/>
          </p:cNvSpPr>
          <p:nvPr userDrawn="1"/>
        </p:nvSpPr>
        <p:spPr bwMode="auto">
          <a:xfrm>
            <a:off x="8562724" y="2792386"/>
            <a:ext cx="49801" cy="57592"/>
          </a:xfrm>
          <a:custGeom>
            <a:avLst/>
            <a:gdLst>
              <a:gd name="T0" fmla="*/ 32 w 32"/>
              <a:gd name="T1" fmla="*/ 28 h 37"/>
              <a:gd name="T2" fmla="*/ 13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3"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5" name="Freeform 118"/>
          <p:cNvSpPr>
            <a:spLocks/>
          </p:cNvSpPr>
          <p:nvPr userDrawn="1"/>
        </p:nvSpPr>
        <p:spPr bwMode="auto">
          <a:xfrm>
            <a:off x="8620307" y="2762813"/>
            <a:ext cx="49801" cy="59148"/>
          </a:xfrm>
          <a:custGeom>
            <a:avLst/>
            <a:gdLst>
              <a:gd name="T0" fmla="*/ 32 w 32"/>
              <a:gd name="T1" fmla="*/ 29 h 38"/>
              <a:gd name="T2" fmla="*/ 13 w 32"/>
              <a:gd name="T3" fmla="*/ 38 h 38"/>
              <a:gd name="T4" fmla="*/ 0 w 32"/>
              <a:gd name="T5" fmla="*/ 9 h 38"/>
              <a:gd name="T6" fmla="*/ 19 w 32"/>
              <a:gd name="T7" fmla="*/ 0 h 38"/>
              <a:gd name="T8" fmla="*/ 32 w 32"/>
              <a:gd name="T9" fmla="*/ 29 h 38"/>
            </a:gdLst>
            <a:ahLst/>
            <a:cxnLst>
              <a:cxn ang="0">
                <a:pos x="T0" y="T1"/>
              </a:cxn>
              <a:cxn ang="0">
                <a:pos x="T2" y="T3"/>
              </a:cxn>
              <a:cxn ang="0">
                <a:pos x="T4" y="T5"/>
              </a:cxn>
              <a:cxn ang="0">
                <a:pos x="T6" y="T7"/>
              </a:cxn>
              <a:cxn ang="0">
                <a:pos x="T8" y="T9"/>
              </a:cxn>
            </a:cxnLst>
            <a:rect l="0" t="0" r="r" b="b"/>
            <a:pathLst>
              <a:path w="32" h="38">
                <a:moveTo>
                  <a:pt x="32" y="29"/>
                </a:moveTo>
                <a:lnTo>
                  <a:pt x="13" y="38"/>
                </a:lnTo>
                <a:lnTo>
                  <a:pt x="0" y="9"/>
                </a:lnTo>
                <a:lnTo>
                  <a:pt x="19" y="0"/>
                </a:lnTo>
                <a:lnTo>
                  <a:pt x="32"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6" name="Freeform 119"/>
          <p:cNvSpPr>
            <a:spLocks/>
          </p:cNvSpPr>
          <p:nvPr userDrawn="1"/>
        </p:nvSpPr>
        <p:spPr bwMode="auto">
          <a:xfrm>
            <a:off x="8679446" y="2736352"/>
            <a:ext cx="48246" cy="56034"/>
          </a:xfrm>
          <a:custGeom>
            <a:avLst/>
            <a:gdLst>
              <a:gd name="T0" fmla="*/ 31 w 31"/>
              <a:gd name="T1" fmla="*/ 27 h 36"/>
              <a:gd name="T2" fmla="*/ 13 w 31"/>
              <a:gd name="T3" fmla="*/ 36 h 36"/>
              <a:gd name="T4" fmla="*/ 0 w 31"/>
              <a:gd name="T5" fmla="*/ 8 h 36"/>
              <a:gd name="T6" fmla="*/ 17 w 31"/>
              <a:gd name="T7" fmla="*/ 0 h 36"/>
              <a:gd name="T8" fmla="*/ 31 w 31"/>
              <a:gd name="T9" fmla="*/ 27 h 36"/>
            </a:gdLst>
            <a:ahLst/>
            <a:cxnLst>
              <a:cxn ang="0">
                <a:pos x="T0" y="T1"/>
              </a:cxn>
              <a:cxn ang="0">
                <a:pos x="T2" y="T3"/>
              </a:cxn>
              <a:cxn ang="0">
                <a:pos x="T4" y="T5"/>
              </a:cxn>
              <a:cxn ang="0">
                <a:pos x="T6" y="T7"/>
              </a:cxn>
              <a:cxn ang="0">
                <a:pos x="T8" y="T9"/>
              </a:cxn>
            </a:cxnLst>
            <a:rect l="0" t="0" r="r" b="b"/>
            <a:pathLst>
              <a:path w="31" h="36">
                <a:moveTo>
                  <a:pt x="31" y="27"/>
                </a:moveTo>
                <a:lnTo>
                  <a:pt x="13" y="36"/>
                </a:lnTo>
                <a:lnTo>
                  <a:pt x="0" y="8"/>
                </a:lnTo>
                <a:lnTo>
                  <a:pt x="17" y="0"/>
                </a:lnTo>
                <a:lnTo>
                  <a:pt x="31" y="27"/>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7" name="Freeform 120"/>
          <p:cNvSpPr>
            <a:spLocks/>
          </p:cNvSpPr>
          <p:nvPr userDrawn="1"/>
        </p:nvSpPr>
        <p:spPr bwMode="auto">
          <a:xfrm>
            <a:off x="8735473" y="2708334"/>
            <a:ext cx="51358" cy="56034"/>
          </a:xfrm>
          <a:custGeom>
            <a:avLst/>
            <a:gdLst>
              <a:gd name="T0" fmla="*/ 33 w 33"/>
              <a:gd name="T1" fmla="*/ 28 h 36"/>
              <a:gd name="T2" fmla="*/ 14 w 33"/>
              <a:gd name="T3" fmla="*/ 36 h 36"/>
              <a:gd name="T4" fmla="*/ 0 w 33"/>
              <a:gd name="T5" fmla="*/ 9 h 36"/>
              <a:gd name="T6" fmla="*/ 18 w 33"/>
              <a:gd name="T7" fmla="*/ 0 h 36"/>
              <a:gd name="T8" fmla="*/ 33 w 33"/>
              <a:gd name="T9" fmla="*/ 28 h 36"/>
            </a:gdLst>
            <a:ahLst/>
            <a:cxnLst>
              <a:cxn ang="0">
                <a:pos x="T0" y="T1"/>
              </a:cxn>
              <a:cxn ang="0">
                <a:pos x="T2" y="T3"/>
              </a:cxn>
              <a:cxn ang="0">
                <a:pos x="T4" y="T5"/>
              </a:cxn>
              <a:cxn ang="0">
                <a:pos x="T6" y="T7"/>
              </a:cxn>
              <a:cxn ang="0">
                <a:pos x="T8" y="T9"/>
              </a:cxn>
            </a:cxnLst>
            <a:rect l="0" t="0" r="r" b="b"/>
            <a:pathLst>
              <a:path w="33" h="36">
                <a:moveTo>
                  <a:pt x="33" y="28"/>
                </a:moveTo>
                <a:lnTo>
                  <a:pt x="14" y="36"/>
                </a:lnTo>
                <a:lnTo>
                  <a:pt x="0" y="9"/>
                </a:lnTo>
                <a:lnTo>
                  <a:pt x="18"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8" name="Freeform 121"/>
          <p:cNvSpPr>
            <a:spLocks/>
          </p:cNvSpPr>
          <p:nvPr userDrawn="1"/>
        </p:nvSpPr>
        <p:spPr bwMode="auto">
          <a:xfrm>
            <a:off x="8793055" y="2680317"/>
            <a:ext cx="51358" cy="57592"/>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59" name="Freeform 122"/>
          <p:cNvSpPr>
            <a:spLocks/>
          </p:cNvSpPr>
          <p:nvPr userDrawn="1"/>
        </p:nvSpPr>
        <p:spPr bwMode="auto">
          <a:xfrm>
            <a:off x="8852194" y="2652299"/>
            <a:ext cx="48246" cy="57592"/>
          </a:xfrm>
          <a:custGeom>
            <a:avLst/>
            <a:gdLst>
              <a:gd name="T0" fmla="*/ 31 w 31"/>
              <a:gd name="T1" fmla="*/ 28 h 37"/>
              <a:gd name="T2" fmla="*/ 13 w 31"/>
              <a:gd name="T3" fmla="*/ 37 h 37"/>
              <a:gd name="T4" fmla="*/ 0 w 31"/>
              <a:gd name="T5" fmla="*/ 9 h 37"/>
              <a:gd name="T6" fmla="*/ 18 w 31"/>
              <a:gd name="T7" fmla="*/ 0 h 37"/>
              <a:gd name="T8" fmla="*/ 31 w 31"/>
              <a:gd name="T9" fmla="*/ 28 h 37"/>
            </a:gdLst>
            <a:ahLst/>
            <a:cxnLst>
              <a:cxn ang="0">
                <a:pos x="T0" y="T1"/>
              </a:cxn>
              <a:cxn ang="0">
                <a:pos x="T2" y="T3"/>
              </a:cxn>
              <a:cxn ang="0">
                <a:pos x="T4" y="T5"/>
              </a:cxn>
              <a:cxn ang="0">
                <a:pos x="T6" y="T7"/>
              </a:cxn>
              <a:cxn ang="0">
                <a:pos x="T8" y="T9"/>
              </a:cxn>
            </a:cxnLst>
            <a:rect l="0" t="0" r="r" b="b"/>
            <a:pathLst>
              <a:path w="31" h="37">
                <a:moveTo>
                  <a:pt x="31" y="28"/>
                </a:moveTo>
                <a:lnTo>
                  <a:pt x="13" y="37"/>
                </a:lnTo>
                <a:lnTo>
                  <a:pt x="0" y="9"/>
                </a:lnTo>
                <a:lnTo>
                  <a:pt x="18" y="0"/>
                </a:lnTo>
                <a:lnTo>
                  <a:pt x="31"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60" name="Freeform 123"/>
          <p:cNvSpPr>
            <a:spLocks/>
          </p:cNvSpPr>
          <p:nvPr userDrawn="1"/>
        </p:nvSpPr>
        <p:spPr bwMode="auto">
          <a:xfrm>
            <a:off x="8909778" y="2625840"/>
            <a:ext cx="48246" cy="56034"/>
          </a:xfrm>
          <a:custGeom>
            <a:avLst/>
            <a:gdLst>
              <a:gd name="T0" fmla="*/ 31 w 31"/>
              <a:gd name="T1" fmla="*/ 27 h 36"/>
              <a:gd name="T2" fmla="*/ 13 w 31"/>
              <a:gd name="T3" fmla="*/ 36 h 36"/>
              <a:gd name="T4" fmla="*/ 0 w 31"/>
              <a:gd name="T5" fmla="*/ 8 h 36"/>
              <a:gd name="T6" fmla="*/ 18 w 31"/>
              <a:gd name="T7" fmla="*/ 0 h 36"/>
              <a:gd name="T8" fmla="*/ 31 w 31"/>
              <a:gd name="T9" fmla="*/ 27 h 36"/>
            </a:gdLst>
            <a:ahLst/>
            <a:cxnLst>
              <a:cxn ang="0">
                <a:pos x="T0" y="T1"/>
              </a:cxn>
              <a:cxn ang="0">
                <a:pos x="T2" y="T3"/>
              </a:cxn>
              <a:cxn ang="0">
                <a:pos x="T4" y="T5"/>
              </a:cxn>
              <a:cxn ang="0">
                <a:pos x="T6" y="T7"/>
              </a:cxn>
              <a:cxn ang="0">
                <a:pos x="T8" y="T9"/>
              </a:cxn>
            </a:cxnLst>
            <a:rect l="0" t="0" r="r" b="b"/>
            <a:pathLst>
              <a:path w="31" h="36">
                <a:moveTo>
                  <a:pt x="31" y="27"/>
                </a:moveTo>
                <a:lnTo>
                  <a:pt x="13" y="36"/>
                </a:lnTo>
                <a:lnTo>
                  <a:pt x="0" y="8"/>
                </a:lnTo>
                <a:lnTo>
                  <a:pt x="18" y="0"/>
                </a:lnTo>
                <a:lnTo>
                  <a:pt x="31" y="27"/>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61" name="Freeform 124"/>
          <p:cNvSpPr>
            <a:spLocks/>
          </p:cNvSpPr>
          <p:nvPr userDrawn="1"/>
        </p:nvSpPr>
        <p:spPr bwMode="auto">
          <a:xfrm>
            <a:off x="8967360" y="2597822"/>
            <a:ext cx="49801" cy="56034"/>
          </a:xfrm>
          <a:custGeom>
            <a:avLst/>
            <a:gdLst>
              <a:gd name="T0" fmla="*/ 32 w 32"/>
              <a:gd name="T1" fmla="*/ 28 h 36"/>
              <a:gd name="T2" fmla="*/ 13 w 32"/>
              <a:gd name="T3" fmla="*/ 36 h 36"/>
              <a:gd name="T4" fmla="*/ 0 w 32"/>
              <a:gd name="T5" fmla="*/ 9 h 36"/>
              <a:gd name="T6" fmla="*/ 19 w 32"/>
              <a:gd name="T7" fmla="*/ 0 h 36"/>
              <a:gd name="T8" fmla="*/ 32 w 32"/>
              <a:gd name="T9" fmla="*/ 28 h 36"/>
            </a:gdLst>
            <a:ahLst/>
            <a:cxnLst>
              <a:cxn ang="0">
                <a:pos x="T0" y="T1"/>
              </a:cxn>
              <a:cxn ang="0">
                <a:pos x="T2" y="T3"/>
              </a:cxn>
              <a:cxn ang="0">
                <a:pos x="T4" y="T5"/>
              </a:cxn>
              <a:cxn ang="0">
                <a:pos x="T6" y="T7"/>
              </a:cxn>
              <a:cxn ang="0">
                <a:pos x="T8" y="T9"/>
              </a:cxn>
            </a:cxnLst>
            <a:rect l="0" t="0" r="r" b="b"/>
            <a:pathLst>
              <a:path w="32" h="36">
                <a:moveTo>
                  <a:pt x="32" y="28"/>
                </a:moveTo>
                <a:lnTo>
                  <a:pt x="13" y="36"/>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62" name="Freeform 125"/>
          <p:cNvSpPr>
            <a:spLocks/>
          </p:cNvSpPr>
          <p:nvPr userDrawn="1"/>
        </p:nvSpPr>
        <p:spPr bwMode="auto">
          <a:xfrm>
            <a:off x="9026499" y="2568248"/>
            <a:ext cx="48246" cy="59148"/>
          </a:xfrm>
          <a:custGeom>
            <a:avLst/>
            <a:gdLst>
              <a:gd name="T0" fmla="*/ 31 w 31"/>
              <a:gd name="T1" fmla="*/ 29 h 38"/>
              <a:gd name="T2" fmla="*/ 13 w 31"/>
              <a:gd name="T3" fmla="*/ 38 h 38"/>
              <a:gd name="T4" fmla="*/ 0 w 31"/>
              <a:gd name="T5" fmla="*/ 9 h 38"/>
              <a:gd name="T6" fmla="*/ 17 w 31"/>
              <a:gd name="T7" fmla="*/ 0 h 38"/>
              <a:gd name="T8" fmla="*/ 31 w 31"/>
              <a:gd name="T9" fmla="*/ 29 h 38"/>
            </a:gdLst>
            <a:ahLst/>
            <a:cxnLst>
              <a:cxn ang="0">
                <a:pos x="T0" y="T1"/>
              </a:cxn>
              <a:cxn ang="0">
                <a:pos x="T2" y="T3"/>
              </a:cxn>
              <a:cxn ang="0">
                <a:pos x="T4" y="T5"/>
              </a:cxn>
              <a:cxn ang="0">
                <a:pos x="T6" y="T7"/>
              </a:cxn>
              <a:cxn ang="0">
                <a:pos x="T8" y="T9"/>
              </a:cxn>
            </a:cxnLst>
            <a:rect l="0" t="0" r="r" b="b"/>
            <a:pathLst>
              <a:path w="31" h="38">
                <a:moveTo>
                  <a:pt x="31" y="29"/>
                </a:moveTo>
                <a:lnTo>
                  <a:pt x="13" y="38"/>
                </a:lnTo>
                <a:lnTo>
                  <a:pt x="0" y="9"/>
                </a:lnTo>
                <a:lnTo>
                  <a:pt x="17" y="0"/>
                </a:lnTo>
                <a:lnTo>
                  <a:pt x="31"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63" name="Freeform 126"/>
          <p:cNvSpPr>
            <a:spLocks/>
          </p:cNvSpPr>
          <p:nvPr userDrawn="1"/>
        </p:nvSpPr>
        <p:spPr bwMode="auto">
          <a:xfrm>
            <a:off x="9082526" y="2540230"/>
            <a:ext cx="49801" cy="57592"/>
          </a:xfrm>
          <a:custGeom>
            <a:avLst/>
            <a:gdLst>
              <a:gd name="T0" fmla="*/ 32 w 32"/>
              <a:gd name="T1" fmla="*/ 28 h 37"/>
              <a:gd name="T2" fmla="*/ 14 w 32"/>
              <a:gd name="T3" fmla="*/ 37 h 37"/>
              <a:gd name="T4" fmla="*/ 0 w 32"/>
              <a:gd name="T5" fmla="*/ 9 h 37"/>
              <a:gd name="T6" fmla="*/ 18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8"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64" name="Freeform 127"/>
          <p:cNvSpPr>
            <a:spLocks/>
          </p:cNvSpPr>
          <p:nvPr userDrawn="1"/>
        </p:nvSpPr>
        <p:spPr bwMode="auto">
          <a:xfrm>
            <a:off x="9140109" y="2512213"/>
            <a:ext cx="51358" cy="57592"/>
          </a:xfrm>
          <a:custGeom>
            <a:avLst/>
            <a:gdLst>
              <a:gd name="T0" fmla="*/ 33 w 33"/>
              <a:gd name="T1" fmla="*/ 28 h 37"/>
              <a:gd name="T2" fmla="*/ 14 w 33"/>
              <a:gd name="T3" fmla="*/ 37 h 37"/>
              <a:gd name="T4" fmla="*/ 0 w 33"/>
              <a:gd name="T5" fmla="*/ 9 h 37"/>
              <a:gd name="T6" fmla="*/ 19 w 33"/>
              <a:gd name="T7" fmla="*/ 0 h 37"/>
              <a:gd name="T8" fmla="*/ 33 w 33"/>
              <a:gd name="T9" fmla="*/ 28 h 37"/>
            </a:gdLst>
            <a:ahLst/>
            <a:cxnLst>
              <a:cxn ang="0">
                <a:pos x="T0" y="T1"/>
              </a:cxn>
              <a:cxn ang="0">
                <a:pos x="T2" y="T3"/>
              </a:cxn>
              <a:cxn ang="0">
                <a:pos x="T4" y="T5"/>
              </a:cxn>
              <a:cxn ang="0">
                <a:pos x="T6" y="T7"/>
              </a:cxn>
              <a:cxn ang="0">
                <a:pos x="T8" y="T9"/>
              </a:cxn>
            </a:cxnLst>
            <a:rect l="0" t="0" r="r" b="b"/>
            <a:pathLst>
              <a:path w="33" h="37">
                <a:moveTo>
                  <a:pt x="33" y="28"/>
                </a:moveTo>
                <a:lnTo>
                  <a:pt x="14" y="37"/>
                </a:lnTo>
                <a:lnTo>
                  <a:pt x="0" y="9"/>
                </a:lnTo>
                <a:lnTo>
                  <a:pt x="19" y="0"/>
                </a:lnTo>
                <a:lnTo>
                  <a:pt x="33"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65" name="Freeform 128"/>
          <p:cNvSpPr>
            <a:spLocks/>
          </p:cNvSpPr>
          <p:nvPr userDrawn="1"/>
        </p:nvSpPr>
        <p:spPr bwMode="auto">
          <a:xfrm>
            <a:off x="9197691" y="2485753"/>
            <a:ext cx="49801" cy="56034"/>
          </a:xfrm>
          <a:custGeom>
            <a:avLst/>
            <a:gdLst>
              <a:gd name="T0" fmla="*/ 32 w 32"/>
              <a:gd name="T1" fmla="*/ 27 h 36"/>
              <a:gd name="T2" fmla="*/ 15 w 32"/>
              <a:gd name="T3" fmla="*/ 36 h 36"/>
              <a:gd name="T4" fmla="*/ 0 w 32"/>
              <a:gd name="T5" fmla="*/ 9 h 36"/>
              <a:gd name="T6" fmla="*/ 19 w 32"/>
              <a:gd name="T7" fmla="*/ 0 h 36"/>
              <a:gd name="T8" fmla="*/ 32 w 32"/>
              <a:gd name="T9" fmla="*/ 27 h 36"/>
            </a:gdLst>
            <a:ahLst/>
            <a:cxnLst>
              <a:cxn ang="0">
                <a:pos x="T0" y="T1"/>
              </a:cxn>
              <a:cxn ang="0">
                <a:pos x="T2" y="T3"/>
              </a:cxn>
              <a:cxn ang="0">
                <a:pos x="T4" y="T5"/>
              </a:cxn>
              <a:cxn ang="0">
                <a:pos x="T6" y="T7"/>
              </a:cxn>
              <a:cxn ang="0">
                <a:pos x="T8" y="T9"/>
              </a:cxn>
            </a:cxnLst>
            <a:rect l="0" t="0" r="r" b="b"/>
            <a:pathLst>
              <a:path w="32" h="36">
                <a:moveTo>
                  <a:pt x="32" y="27"/>
                </a:moveTo>
                <a:lnTo>
                  <a:pt x="15" y="36"/>
                </a:lnTo>
                <a:lnTo>
                  <a:pt x="0" y="9"/>
                </a:lnTo>
                <a:lnTo>
                  <a:pt x="19" y="0"/>
                </a:lnTo>
                <a:lnTo>
                  <a:pt x="32" y="27"/>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66" name="Freeform 129"/>
          <p:cNvSpPr>
            <a:spLocks/>
          </p:cNvSpPr>
          <p:nvPr userDrawn="1"/>
        </p:nvSpPr>
        <p:spPr bwMode="auto">
          <a:xfrm>
            <a:off x="9256831" y="2457736"/>
            <a:ext cx="48246" cy="57592"/>
          </a:xfrm>
          <a:custGeom>
            <a:avLst/>
            <a:gdLst>
              <a:gd name="T0" fmla="*/ 31 w 31"/>
              <a:gd name="T1" fmla="*/ 28 h 37"/>
              <a:gd name="T2" fmla="*/ 13 w 31"/>
              <a:gd name="T3" fmla="*/ 37 h 37"/>
              <a:gd name="T4" fmla="*/ 0 w 31"/>
              <a:gd name="T5" fmla="*/ 9 h 37"/>
              <a:gd name="T6" fmla="*/ 18 w 31"/>
              <a:gd name="T7" fmla="*/ 0 h 37"/>
              <a:gd name="T8" fmla="*/ 31 w 31"/>
              <a:gd name="T9" fmla="*/ 28 h 37"/>
            </a:gdLst>
            <a:ahLst/>
            <a:cxnLst>
              <a:cxn ang="0">
                <a:pos x="T0" y="T1"/>
              </a:cxn>
              <a:cxn ang="0">
                <a:pos x="T2" y="T3"/>
              </a:cxn>
              <a:cxn ang="0">
                <a:pos x="T4" y="T5"/>
              </a:cxn>
              <a:cxn ang="0">
                <a:pos x="T6" y="T7"/>
              </a:cxn>
              <a:cxn ang="0">
                <a:pos x="T8" y="T9"/>
              </a:cxn>
            </a:cxnLst>
            <a:rect l="0" t="0" r="r" b="b"/>
            <a:pathLst>
              <a:path w="31" h="37">
                <a:moveTo>
                  <a:pt x="31" y="28"/>
                </a:moveTo>
                <a:lnTo>
                  <a:pt x="13" y="37"/>
                </a:lnTo>
                <a:lnTo>
                  <a:pt x="0" y="9"/>
                </a:lnTo>
                <a:lnTo>
                  <a:pt x="18" y="0"/>
                </a:lnTo>
                <a:lnTo>
                  <a:pt x="31"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67" name="Freeform 130"/>
          <p:cNvSpPr>
            <a:spLocks/>
          </p:cNvSpPr>
          <p:nvPr userDrawn="1"/>
        </p:nvSpPr>
        <p:spPr bwMode="auto">
          <a:xfrm>
            <a:off x="9314414" y="2429718"/>
            <a:ext cx="49801" cy="57592"/>
          </a:xfrm>
          <a:custGeom>
            <a:avLst/>
            <a:gdLst>
              <a:gd name="T0" fmla="*/ 32 w 32"/>
              <a:gd name="T1" fmla="*/ 28 h 37"/>
              <a:gd name="T2" fmla="*/ 13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3"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68" name="Freeform 131"/>
          <p:cNvSpPr>
            <a:spLocks/>
          </p:cNvSpPr>
          <p:nvPr userDrawn="1"/>
        </p:nvSpPr>
        <p:spPr bwMode="auto">
          <a:xfrm>
            <a:off x="9371997" y="2401701"/>
            <a:ext cx="49801" cy="57592"/>
          </a:xfrm>
          <a:custGeom>
            <a:avLst/>
            <a:gdLst>
              <a:gd name="T0" fmla="*/ 32 w 32"/>
              <a:gd name="T1" fmla="*/ 28 h 37"/>
              <a:gd name="T2" fmla="*/ 14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4"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69" name="Freeform 132"/>
          <p:cNvSpPr>
            <a:spLocks/>
          </p:cNvSpPr>
          <p:nvPr userDrawn="1"/>
        </p:nvSpPr>
        <p:spPr bwMode="auto">
          <a:xfrm>
            <a:off x="9429579" y="2375240"/>
            <a:ext cx="49801" cy="56034"/>
          </a:xfrm>
          <a:custGeom>
            <a:avLst/>
            <a:gdLst>
              <a:gd name="T0" fmla="*/ 32 w 32"/>
              <a:gd name="T1" fmla="*/ 27 h 36"/>
              <a:gd name="T2" fmla="*/ 14 w 32"/>
              <a:gd name="T3" fmla="*/ 36 h 36"/>
              <a:gd name="T4" fmla="*/ 0 w 32"/>
              <a:gd name="T5" fmla="*/ 8 h 36"/>
              <a:gd name="T6" fmla="*/ 18 w 32"/>
              <a:gd name="T7" fmla="*/ 0 h 36"/>
              <a:gd name="T8" fmla="*/ 32 w 32"/>
              <a:gd name="T9" fmla="*/ 27 h 36"/>
            </a:gdLst>
            <a:ahLst/>
            <a:cxnLst>
              <a:cxn ang="0">
                <a:pos x="T0" y="T1"/>
              </a:cxn>
              <a:cxn ang="0">
                <a:pos x="T2" y="T3"/>
              </a:cxn>
              <a:cxn ang="0">
                <a:pos x="T4" y="T5"/>
              </a:cxn>
              <a:cxn ang="0">
                <a:pos x="T6" y="T7"/>
              </a:cxn>
              <a:cxn ang="0">
                <a:pos x="T8" y="T9"/>
              </a:cxn>
            </a:cxnLst>
            <a:rect l="0" t="0" r="r" b="b"/>
            <a:pathLst>
              <a:path w="32" h="36">
                <a:moveTo>
                  <a:pt x="32" y="27"/>
                </a:moveTo>
                <a:lnTo>
                  <a:pt x="14" y="36"/>
                </a:lnTo>
                <a:lnTo>
                  <a:pt x="0" y="8"/>
                </a:lnTo>
                <a:lnTo>
                  <a:pt x="18" y="0"/>
                </a:lnTo>
                <a:lnTo>
                  <a:pt x="32" y="27"/>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70" name="Freeform 133"/>
          <p:cNvSpPr>
            <a:spLocks/>
          </p:cNvSpPr>
          <p:nvPr userDrawn="1"/>
        </p:nvSpPr>
        <p:spPr bwMode="auto">
          <a:xfrm>
            <a:off x="9487163" y="2345667"/>
            <a:ext cx="51358" cy="56034"/>
          </a:xfrm>
          <a:custGeom>
            <a:avLst/>
            <a:gdLst>
              <a:gd name="T0" fmla="*/ 33 w 33"/>
              <a:gd name="T1" fmla="*/ 29 h 36"/>
              <a:gd name="T2" fmla="*/ 14 w 33"/>
              <a:gd name="T3" fmla="*/ 36 h 36"/>
              <a:gd name="T4" fmla="*/ 0 w 33"/>
              <a:gd name="T5" fmla="*/ 9 h 36"/>
              <a:gd name="T6" fmla="*/ 18 w 33"/>
              <a:gd name="T7" fmla="*/ 0 h 36"/>
              <a:gd name="T8" fmla="*/ 33 w 33"/>
              <a:gd name="T9" fmla="*/ 29 h 36"/>
            </a:gdLst>
            <a:ahLst/>
            <a:cxnLst>
              <a:cxn ang="0">
                <a:pos x="T0" y="T1"/>
              </a:cxn>
              <a:cxn ang="0">
                <a:pos x="T2" y="T3"/>
              </a:cxn>
              <a:cxn ang="0">
                <a:pos x="T4" y="T5"/>
              </a:cxn>
              <a:cxn ang="0">
                <a:pos x="T6" y="T7"/>
              </a:cxn>
              <a:cxn ang="0">
                <a:pos x="T8" y="T9"/>
              </a:cxn>
            </a:cxnLst>
            <a:rect l="0" t="0" r="r" b="b"/>
            <a:pathLst>
              <a:path w="33" h="36">
                <a:moveTo>
                  <a:pt x="33" y="29"/>
                </a:moveTo>
                <a:lnTo>
                  <a:pt x="14" y="36"/>
                </a:lnTo>
                <a:lnTo>
                  <a:pt x="0" y="9"/>
                </a:lnTo>
                <a:lnTo>
                  <a:pt x="18" y="0"/>
                </a:lnTo>
                <a:lnTo>
                  <a:pt x="33" y="29"/>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71" name="Freeform 134"/>
          <p:cNvSpPr>
            <a:spLocks/>
          </p:cNvSpPr>
          <p:nvPr userDrawn="1"/>
        </p:nvSpPr>
        <p:spPr bwMode="auto">
          <a:xfrm>
            <a:off x="9544745" y="2317649"/>
            <a:ext cx="49801" cy="57592"/>
          </a:xfrm>
          <a:custGeom>
            <a:avLst/>
            <a:gdLst>
              <a:gd name="T0" fmla="*/ 32 w 32"/>
              <a:gd name="T1" fmla="*/ 28 h 37"/>
              <a:gd name="T2" fmla="*/ 15 w 32"/>
              <a:gd name="T3" fmla="*/ 37 h 37"/>
              <a:gd name="T4" fmla="*/ 0 w 32"/>
              <a:gd name="T5" fmla="*/ 9 h 37"/>
              <a:gd name="T6" fmla="*/ 19 w 32"/>
              <a:gd name="T7" fmla="*/ 0 h 37"/>
              <a:gd name="T8" fmla="*/ 32 w 32"/>
              <a:gd name="T9" fmla="*/ 28 h 37"/>
            </a:gdLst>
            <a:ahLst/>
            <a:cxnLst>
              <a:cxn ang="0">
                <a:pos x="T0" y="T1"/>
              </a:cxn>
              <a:cxn ang="0">
                <a:pos x="T2" y="T3"/>
              </a:cxn>
              <a:cxn ang="0">
                <a:pos x="T4" y="T5"/>
              </a:cxn>
              <a:cxn ang="0">
                <a:pos x="T6" y="T7"/>
              </a:cxn>
              <a:cxn ang="0">
                <a:pos x="T8" y="T9"/>
              </a:cxn>
            </a:cxnLst>
            <a:rect l="0" t="0" r="r" b="b"/>
            <a:pathLst>
              <a:path w="32" h="37">
                <a:moveTo>
                  <a:pt x="32" y="28"/>
                </a:moveTo>
                <a:lnTo>
                  <a:pt x="15" y="37"/>
                </a:lnTo>
                <a:lnTo>
                  <a:pt x="0" y="9"/>
                </a:lnTo>
                <a:lnTo>
                  <a:pt x="19" y="0"/>
                </a:lnTo>
                <a:lnTo>
                  <a:pt x="32"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72" name="Freeform 135"/>
          <p:cNvSpPr>
            <a:spLocks/>
          </p:cNvSpPr>
          <p:nvPr userDrawn="1"/>
        </p:nvSpPr>
        <p:spPr bwMode="auto">
          <a:xfrm>
            <a:off x="9603884" y="2289632"/>
            <a:ext cx="48246" cy="57592"/>
          </a:xfrm>
          <a:custGeom>
            <a:avLst/>
            <a:gdLst>
              <a:gd name="T0" fmla="*/ 31 w 31"/>
              <a:gd name="T1" fmla="*/ 28 h 37"/>
              <a:gd name="T2" fmla="*/ 13 w 31"/>
              <a:gd name="T3" fmla="*/ 37 h 37"/>
              <a:gd name="T4" fmla="*/ 0 w 31"/>
              <a:gd name="T5" fmla="*/ 9 h 37"/>
              <a:gd name="T6" fmla="*/ 18 w 31"/>
              <a:gd name="T7" fmla="*/ 0 h 37"/>
              <a:gd name="T8" fmla="*/ 31 w 31"/>
              <a:gd name="T9" fmla="*/ 28 h 37"/>
            </a:gdLst>
            <a:ahLst/>
            <a:cxnLst>
              <a:cxn ang="0">
                <a:pos x="T0" y="T1"/>
              </a:cxn>
              <a:cxn ang="0">
                <a:pos x="T2" y="T3"/>
              </a:cxn>
              <a:cxn ang="0">
                <a:pos x="T4" y="T5"/>
              </a:cxn>
              <a:cxn ang="0">
                <a:pos x="T6" y="T7"/>
              </a:cxn>
              <a:cxn ang="0">
                <a:pos x="T8" y="T9"/>
              </a:cxn>
            </a:cxnLst>
            <a:rect l="0" t="0" r="r" b="b"/>
            <a:pathLst>
              <a:path w="31" h="37">
                <a:moveTo>
                  <a:pt x="31" y="28"/>
                </a:moveTo>
                <a:lnTo>
                  <a:pt x="13" y="37"/>
                </a:lnTo>
                <a:lnTo>
                  <a:pt x="0" y="9"/>
                </a:lnTo>
                <a:lnTo>
                  <a:pt x="18" y="0"/>
                </a:lnTo>
                <a:lnTo>
                  <a:pt x="31" y="28"/>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73" name="Freeform 136"/>
          <p:cNvSpPr>
            <a:spLocks/>
          </p:cNvSpPr>
          <p:nvPr userDrawn="1"/>
        </p:nvSpPr>
        <p:spPr bwMode="auto">
          <a:xfrm>
            <a:off x="8357294" y="2404814"/>
            <a:ext cx="1185895" cy="568128"/>
          </a:xfrm>
          <a:custGeom>
            <a:avLst/>
            <a:gdLst>
              <a:gd name="T0" fmla="*/ 5 w 762"/>
              <a:gd name="T1" fmla="*/ 365 h 365"/>
              <a:gd name="T2" fmla="*/ 0 w 762"/>
              <a:gd name="T3" fmla="*/ 356 h 365"/>
              <a:gd name="T4" fmla="*/ 737 w 762"/>
              <a:gd name="T5" fmla="*/ 0 h 365"/>
              <a:gd name="T6" fmla="*/ 762 w 762"/>
              <a:gd name="T7" fmla="*/ 0 h 365"/>
              <a:gd name="T8" fmla="*/ 5 w 762"/>
              <a:gd name="T9" fmla="*/ 365 h 365"/>
            </a:gdLst>
            <a:ahLst/>
            <a:cxnLst>
              <a:cxn ang="0">
                <a:pos x="T0" y="T1"/>
              </a:cxn>
              <a:cxn ang="0">
                <a:pos x="T2" y="T3"/>
              </a:cxn>
              <a:cxn ang="0">
                <a:pos x="T4" y="T5"/>
              </a:cxn>
              <a:cxn ang="0">
                <a:pos x="T6" y="T7"/>
              </a:cxn>
              <a:cxn ang="0">
                <a:pos x="T8" y="T9"/>
              </a:cxn>
            </a:cxnLst>
            <a:rect l="0" t="0" r="r" b="b"/>
            <a:pathLst>
              <a:path w="762" h="365">
                <a:moveTo>
                  <a:pt x="5" y="365"/>
                </a:moveTo>
                <a:lnTo>
                  <a:pt x="0" y="356"/>
                </a:lnTo>
                <a:lnTo>
                  <a:pt x="737" y="0"/>
                </a:lnTo>
                <a:lnTo>
                  <a:pt x="762" y="0"/>
                </a:lnTo>
                <a:lnTo>
                  <a:pt x="5" y="365"/>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74" name="Freeform 137"/>
          <p:cNvSpPr>
            <a:spLocks/>
          </p:cNvSpPr>
          <p:nvPr userDrawn="1"/>
        </p:nvSpPr>
        <p:spPr bwMode="auto">
          <a:xfrm>
            <a:off x="8704347" y="1962765"/>
            <a:ext cx="105828" cy="35800"/>
          </a:xfrm>
          <a:custGeom>
            <a:avLst/>
            <a:gdLst>
              <a:gd name="T0" fmla="*/ 0 w 68"/>
              <a:gd name="T1" fmla="*/ 0 h 23"/>
              <a:gd name="T2" fmla="*/ 0 w 68"/>
              <a:gd name="T3" fmla="*/ 0 h 23"/>
              <a:gd name="T4" fmla="*/ 68 w 68"/>
              <a:gd name="T5" fmla="*/ 23 h 23"/>
              <a:gd name="T6" fmla="*/ 68 w 68"/>
              <a:gd name="T7" fmla="*/ 23 h 23"/>
              <a:gd name="T8" fmla="*/ 0 w 68"/>
              <a:gd name="T9" fmla="*/ 0 h 23"/>
            </a:gdLst>
            <a:ahLst/>
            <a:cxnLst>
              <a:cxn ang="0">
                <a:pos x="T0" y="T1"/>
              </a:cxn>
              <a:cxn ang="0">
                <a:pos x="T2" y="T3"/>
              </a:cxn>
              <a:cxn ang="0">
                <a:pos x="T4" y="T5"/>
              </a:cxn>
              <a:cxn ang="0">
                <a:pos x="T6" y="T7"/>
              </a:cxn>
              <a:cxn ang="0">
                <a:pos x="T8" y="T9"/>
              </a:cxn>
            </a:cxnLst>
            <a:rect l="0" t="0" r="r" b="b"/>
            <a:pathLst>
              <a:path w="68" h="23">
                <a:moveTo>
                  <a:pt x="0" y="0"/>
                </a:moveTo>
                <a:lnTo>
                  <a:pt x="0" y="0"/>
                </a:lnTo>
                <a:lnTo>
                  <a:pt x="68" y="23"/>
                </a:lnTo>
                <a:lnTo>
                  <a:pt x="68" y="23"/>
                </a:lnTo>
                <a:lnTo>
                  <a:pt x="0" y="0"/>
                </a:lnTo>
                <a:close/>
              </a:path>
            </a:pathLst>
          </a:custGeom>
          <a:solidFill>
            <a:srgbClr val="3291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75" name="Freeform 138"/>
          <p:cNvSpPr>
            <a:spLocks/>
          </p:cNvSpPr>
          <p:nvPr userDrawn="1"/>
        </p:nvSpPr>
        <p:spPr bwMode="auto">
          <a:xfrm>
            <a:off x="8704347" y="1962765"/>
            <a:ext cx="105828" cy="35800"/>
          </a:xfrm>
          <a:custGeom>
            <a:avLst/>
            <a:gdLst>
              <a:gd name="T0" fmla="*/ 0 w 68"/>
              <a:gd name="T1" fmla="*/ 0 h 23"/>
              <a:gd name="T2" fmla="*/ 0 w 68"/>
              <a:gd name="T3" fmla="*/ 0 h 23"/>
              <a:gd name="T4" fmla="*/ 68 w 68"/>
              <a:gd name="T5" fmla="*/ 23 h 23"/>
              <a:gd name="T6" fmla="*/ 68 w 68"/>
              <a:gd name="T7" fmla="*/ 23 h 23"/>
              <a:gd name="T8" fmla="*/ 0 w 68"/>
              <a:gd name="T9" fmla="*/ 0 h 23"/>
            </a:gdLst>
            <a:ahLst/>
            <a:cxnLst>
              <a:cxn ang="0">
                <a:pos x="T0" y="T1"/>
              </a:cxn>
              <a:cxn ang="0">
                <a:pos x="T2" y="T3"/>
              </a:cxn>
              <a:cxn ang="0">
                <a:pos x="T4" y="T5"/>
              </a:cxn>
              <a:cxn ang="0">
                <a:pos x="T6" y="T7"/>
              </a:cxn>
              <a:cxn ang="0">
                <a:pos x="T8" y="T9"/>
              </a:cxn>
            </a:cxnLst>
            <a:rect l="0" t="0" r="r" b="b"/>
            <a:pathLst>
              <a:path w="68" h="23">
                <a:moveTo>
                  <a:pt x="0" y="0"/>
                </a:moveTo>
                <a:lnTo>
                  <a:pt x="0" y="0"/>
                </a:lnTo>
                <a:lnTo>
                  <a:pt x="68" y="23"/>
                </a:lnTo>
                <a:lnTo>
                  <a:pt x="68"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76" name="Freeform 139"/>
          <p:cNvSpPr>
            <a:spLocks/>
          </p:cNvSpPr>
          <p:nvPr userDrawn="1"/>
        </p:nvSpPr>
        <p:spPr bwMode="auto">
          <a:xfrm>
            <a:off x="8704347" y="1962765"/>
            <a:ext cx="130729" cy="203904"/>
          </a:xfrm>
          <a:custGeom>
            <a:avLst/>
            <a:gdLst>
              <a:gd name="T0" fmla="*/ 0 w 84"/>
              <a:gd name="T1" fmla="*/ 0 h 131"/>
              <a:gd name="T2" fmla="*/ 73 w 84"/>
              <a:gd name="T3" fmla="*/ 131 h 131"/>
              <a:gd name="T4" fmla="*/ 84 w 84"/>
              <a:gd name="T5" fmla="*/ 74 h 131"/>
              <a:gd name="T6" fmla="*/ 68 w 84"/>
              <a:gd name="T7" fmla="*/ 23 h 131"/>
              <a:gd name="T8" fmla="*/ 0 w 84"/>
              <a:gd name="T9" fmla="*/ 0 h 131"/>
            </a:gdLst>
            <a:ahLst/>
            <a:cxnLst>
              <a:cxn ang="0">
                <a:pos x="T0" y="T1"/>
              </a:cxn>
              <a:cxn ang="0">
                <a:pos x="T2" y="T3"/>
              </a:cxn>
              <a:cxn ang="0">
                <a:pos x="T4" y="T5"/>
              </a:cxn>
              <a:cxn ang="0">
                <a:pos x="T6" y="T7"/>
              </a:cxn>
              <a:cxn ang="0">
                <a:pos x="T8" y="T9"/>
              </a:cxn>
            </a:cxnLst>
            <a:rect l="0" t="0" r="r" b="b"/>
            <a:pathLst>
              <a:path w="84" h="131">
                <a:moveTo>
                  <a:pt x="0" y="0"/>
                </a:moveTo>
                <a:lnTo>
                  <a:pt x="73" y="131"/>
                </a:lnTo>
                <a:lnTo>
                  <a:pt x="84" y="74"/>
                </a:lnTo>
                <a:lnTo>
                  <a:pt x="68" y="23"/>
                </a:lnTo>
                <a:lnTo>
                  <a:pt x="0" y="0"/>
                </a:lnTo>
                <a:close/>
              </a:path>
            </a:pathLst>
          </a:custGeom>
          <a:solidFill>
            <a:srgbClr val="0E6F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77" name="Freeform 140"/>
          <p:cNvSpPr>
            <a:spLocks/>
          </p:cNvSpPr>
          <p:nvPr userDrawn="1"/>
        </p:nvSpPr>
        <p:spPr bwMode="auto">
          <a:xfrm>
            <a:off x="8704347" y="1962765"/>
            <a:ext cx="130729" cy="203904"/>
          </a:xfrm>
          <a:custGeom>
            <a:avLst/>
            <a:gdLst>
              <a:gd name="T0" fmla="*/ 0 w 84"/>
              <a:gd name="T1" fmla="*/ 0 h 131"/>
              <a:gd name="T2" fmla="*/ 73 w 84"/>
              <a:gd name="T3" fmla="*/ 131 h 131"/>
              <a:gd name="T4" fmla="*/ 84 w 84"/>
              <a:gd name="T5" fmla="*/ 74 h 131"/>
              <a:gd name="T6" fmla="*/ 68 w 84"/>
              <a:gd name="T7" fmla="*/ 23 h 131"/>
              <a:gd name="T8" fmla="*/ 0 w 84"/>
              <a:gd name="T9" fmla="*/ 0 h 131"/>
            </a:gdLst>
            <a:ahLst/>
            <a:cxnLst>
              <a:cxn ang="0">
                <a:pos x="T0" y="T1"/>
              </a:cxn>
              <a:cxn ang="0">
                <a:pos x="T2" y="T3"/>
              </a:cxn>
              <a:cxn ang="0">
                <a:pos x="T4" y="T5"/>
              </a:cxn>
              <a:cxn ang="0">
                <a:pos x="T6" y="T7"/>
              </a:cxn>
              <a:cxn ang="0">
                <a:pos x="T8" y="T9"/>
              </a:cxn>
            </a:cxnLst>
            <a:rect l="0" t="0" r="r" b="b"/>
            <a:pathLst>
              <a:path w="84" h="131">
                <a:moveTo>
                  <a:pt x="0" y="0"/>
                </a:moveTo>
                <a:lnTo>
                  <a:pt x="73" y="131"/>
                </a:lnTo>
                <a:lnTo>
                  <a:pt x="84" y="74"/>
                </a:lnTo>
                <a:lnTo>
                  <a:pt x="68" y="2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78" name="Freeform 141"/>
          <p:cNvSpPr>
            <a:spLocks/>
          </p:cNvSpPr>
          <p:nvPr userDrawn="1"/>
        </p:nvSpPr>
        <p:spPr bwMode="auto">
          <a:xfrm>
            <a:off x="8721466" y="1545619"/>
            <a:ext cx="631855" cy="852970"/>
          </a:xfrm>
          <a:custGeom>
            <a:avLst/>
            <a:gdLst>
              <a:gd name="T0" fmla="*/ 288 w 364"/>
              <a:gd name="T1" fmla="*/ 345 h 494"/>
              <a:gd name="T2" fmla="*/ 364 w 364"/>
              <a:gd name="T3" fmla="*/ 371 h 494"/>
              <a:gd name="T4" fmla="*/ 331 w 364"/>
              <a:gd name="T5" fmla="*/ 251 h 494"/>
              <a:gd name="T6" fmla="*/ 230 w 364"/>
              <a:gd name="T7" fmla="*/ 182 h 494"/>
              <a:gd name="T8" fmla="*/ 229 w 364"/>
              <a:gd name="T9" fmla="*/ 182 h 494"/>
              <a:gd name="T10" fmla="*/ 182 w 364"/>
              <a:gd name="T11" fmla="*/ 0 h 494"/>
              <a:gd name="T12" fmla="*/ 0 w 364"/>
              <a:gd name="T13" fmla="*/ 101 h 494"/>
              <a:gd name="T14" fmla="*/ 65 w 364"/>
              <a:gd name="T15" fmla="*/ 308 h 494"/>
              <a:gd name="T16" fmla="*/ 50 w 364"/>
              <a:gd name="T17" fmla="*/ 381 h 494"/>
              <a:gd name="T18" fmla="*/ 75 w 364"/>
              <a:gd name="T19" fmla="*/ 420 h 494"/>
              <a:gd name="T20" fmla="*/ 92 w 364"/>
              <a:gd name="T21" fmla="*/ 419 h 494"/>
              <a:gd name="T22" fmla="*/ 118 w 364"/>
              <a:gd name="T23" fmla="*/ 454 h 494"/>
              <a:gd name="T24" fmla="*/ 137 w 364"/>
              <a:gd name="T25" fmla="*/ 452 h 494"/>
              <a:gd name="T26" fmla="*/ 137 w 364"/>
              <a:gd name="T27" fmla="*/ 453 h 494"/>
              <a:gd name="T28" fmla="*/ 162 w 364"/>
              <a:gd name="T29" fmla="*/ 492 h 494"/>
              <a:gd name="T30" fmla="*/ 194 w 364"/>
              <a:gd name="T31" fmla="*/ 480 h 494"/>
              <a:gd name="T32" fmla="*/ 212 w 364"/>
              <a:gd name="T33" fmla="*/ 490 h 494"/>
              <a:gd name="T34" fmla="*/ 251 w 364"/>
              <a:gd name="T35" fmla="*/ 465 h 494"/>
              <a:gd name="T36" fmla="*/ 261 w 364"/>
              <a:gd name="T37" fmla="*/ 416 h 494"/>
              <a:gd name="T38" fmla="*/ 287 w 364"/>
              <a:gd name="T39" fmla="*/ 341 h 494"/>
              <a:gd name="T40" fmla="*/ 288 w 364"/>
              <a:gd name="T41" fmla="*/ 345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4" h="494">
                <a:moveTo>
                  <a:pt x="288" y="345"/>
                </a:moveTo>
                <a:cubicBezTo>
                  <a:pt x="364" y="371"/>
                  <a:pt x="364" y="371"/>
                  <a:pt x="364" y="371"/>
                </a:cubicBezTo>
                <a:cubicBezTo>
                  <a:pt x="339" y="293"/>
                  <a:pt x="350" y="287"/>
                  <a:pt x="331" y="251"/>
                </a:cubicBezTo>
                <a:cubicBezTo>
                  <a:pt x="307" y="206"/>
                  <a:pt x="256" y="184"/>
                  <a:pt x="230" y="182"/>
                </a:cubicBezTo>
                <a:cubicBezTo>
                  <a:pt x="229" y="182"/>
                  <a:pt x="229" y="182"/>
                  <a:pt x="229" y="182"/>
                </a:cubicBezTo>
                <a:cubicBezTo>
                  <a:pt x="182" y="0"/>
                  <a:pt x="182" y="0"/>
                  <a:pt x="182" y="0"/>
                </a:cubicBezTo>
                <a:cubicBezTo>
                  <a:pt x="0" y="101"/>
                  <a:pt x="0" y="101"/>
                  <a:pt x="0" y="101"/>
                </a:cubicBezTo>
                <a:cubicBezTo>
                  <a:pt x="65" y="308"/>
                  <a:pt x="65" y="308"/>
                  <a:pt x="65" y="308"/>
                </a:cubicBezTo>
                <a:cubicBezTo>
                  <a:pt x="50" y="381"/>
                  <a:pt x="50" y="381"/>
                  <a:pt x="50" y="381"/>
                </a:cubicBezTo>
                <a:cubicBezTo>
                  <a:pt x="46" y="399"/>
                  <a:pt x="57" y="416"/>
                  <a:pt x="75" y="420"/>
                </a:cubicBezTo>
                <a:cubicBezTo>
                  <a:pt x="81" y="421"/>
                  <a:pt x="87" y="421"/>
                  <a:pt x="92" y="419"/>
                </a:cubicBezTo>
                <a:cubicBezTo>
                  <a:pt x="91" y="435"/>
                  <a:pt x="101" y="451"/>
                  <a:pt x="118" y="454"/>
                </a:cubicBezTo>
                <a:cubicBezTo>
                  <a:pt x="125" y="456"/>
                  <a:pt x="131" y="455"/>
                  <a:pt x="137" y="452"/>
                </a:cubicBezTo>
                <a:cubicBezTo>
                  <a:pt x="137" y="453"/>
                  <a:pt x="137" y="453"/>
                  <a:pt x="137" y="453"/>
                </a:cubicBezTo>
                <a:cubicBezTo>
                  <a:pt x="133" y="471"/>
                  <a:pt x="145" y="488"/>
                  <a:pt x="162" y="492"/>
                </a:cubicBezTo>
                <a:cubicBezTo>
                  <a:pt x="175" y="494"/>
                  <a:pt x="187" y="489"/>
                  <a:pt x="194" y="480"/>
                </a:cubicBezTo>
                <a:cubicBezTo>
                  <a:pt x="199" y="485"/>
                  <a:pt x="205" y="489"/>
                  <a:pt x="212" y="490"/>
                </a:cubicBezTo>
                <a:cubicBezTo>
                  <a:pt x="230" y="494"/>
                  <a:pt x="247" y="483"/>
                  <a:pt x="251" y="465"/>
                </a:cubicBezTo>
                <a:cubicBezTo>
                  <a:pt x="261" y="416"/>
                  <a:pt x="261" y="416"/>
                  <a:pt x="261" y="416"/>
                </a:cubicBezTo>
                <a:cubicBezTo>
                  <a:pt x="287" y="341"/>
                  <a:pt x="287" y="341"/>
                  <a:pt x="287" y="341"/>
                </a:cubicBezTo>
                <a:cubicBezTo>
                  <a:pt x="288" y="345"/>
                  <a:pt x="288" y="345"/>
                  <a:pt x="288" y="345"/>
                </a:cubicBezTo>
              </a:path>
            </a:pathLst>
          </a:custGeom>
          <a:solidFill>
            <a:srgbClr val="8E5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79" name="Freeform 142"/>
          <p:cNvSpPr>
            <a:spLocks/>
          </p:cNvSpPr>
          <p:nvPr userDrawn="1"/>
        </p:nvSpPr>
        <p:spPr bwMode="auto">
          <a:xfrm>
            <a:off x="8660771" y="1530054"/>
            <a:ext cx="413974" cy="227251"/>
          </a:xfrm>
          <a:custGeom>
            <a:avLst/>
            <a:gdLst>
              <a:gd name="T0" fmla="*/ 218 w 266"/>
              <a:gd name="T1" fmla="*/ 0 h 146"/>
              <a:gd name="T2" fmla="*/ 0 w 266"/>
              <a:gd name="T3" fmla="*/ 96 h 146"/>
              <a:gd name="T4" fmla="*/ 23 w 266"/>
              <a:gd name="T5" fmla="*/ 146 h 146"/>
              <a:gd name="T6" fmla="*/ 266 w 266"/>
              <a:gd name="T7" fmla="*/ 47 h 146"/>
              <a:gd name="T8" fmla="*/ 254 w 266"/>
              <a:gd name="T9" fmla="*/ 0 h 146"/>
              <a:gd name="T10" fmla="*/ 218 w 266"/>
              <a:gd name="T11" fmla="*/ 0 h 146"/>
            </a:gdLst>
            <a:ahLst/>
            <a:cxnLst>
              <a:cxn ang="0">
                <a:pos x="T0" y="T1"/>
              </a:cxn>
              <a:cxn ang="0">
                <a:pos x="T2" y="T3"/>
              </a:cxn>
              <a:cxn ang="0">
                <a:pos x="T4" y="T5"/>
              </a:cxn>
              <a:cxn ang="0">
                <a:pos x="T6" y="T7"/>
              </a:cxn>
              <a:cxn ang="0">
                <a:pos x="T8" y="T9"/>
              </a:cxn>
              <a:cxn ang="0">
                <a:pos x="T10" y="T11"/>
              </a:cxn>
            </a:cxnLst>
            <a:rect l="0" t="0" r="r" b="b"/>
            <a:pathLst>
              <a:path w="266" h="146">
                <a:moveTo>
                  <a:pt x="218" y="0"/>
                </a:moveTo>
                <a:lnTo>
                  <a:pt x="0" y="96"/>
                </a:lnTo>
                <a:lnTo>
                  <a:pt x="23" y="146"/>
                </a:lnTo>
                <a:lnTo>
                  <a:pt x="266" y="47"/>
                </a:lnTo>
                <a:lnTo>
                  <a:pt x="254" y="0"/>
                </a:lnTo>
                <a:lnTo>
                  <a:pt x="218" y="0"/>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80" name="Freeform 143"/>
          <p:cNvSpPr>
            <a:spLocks/>
          </p:cNvSpPr>
          <p:nvPr userDrawn="1"/>
        </p:nvSpPr>
        <p:spPr bwMode="auto">
          <a:xfrm>
            <a:off x="8660771" y="1530054"/>
            <a:ext cx="413974" cy="227251"/>
          </a:xfrm>
          <a:custGeom>
            <a:avLst/>
            <a:gdLst>
              <a:gd name="T0" fmla="*/ 218 w 266"/>
              <a:gd name="T1" fmla="*/ 0 h 146"/>
              <a:gd name="T2" fmla="*/ 0 w 266"/>
              <a:gd name="T3" fmla="*/ 96 h 146"/>
              <a:gd name="T4" fmla="*/ 23 w 266"/>
              <a:gd name="T5" fmla="*/ 146 h 146"/>
              <a:gd name="T6" fmla="*/ 266 w 266"/>
              <a:gd name="T7" fmla="*/ 47 h 146"/>
              <a:gd name="T8" fmla="*/ 254 w 266"/>
              <a:gd name="T9" fmla="*/ 0 h 146"/>
              <a:gd name="T10" fmla="*/ 218 w 266"/>
              <a:gd name="T11" fmla="*/ 0 h 146"/>
            </a:gdLst>
            <a:ahLst/>
            <a:cxnLst>
              <a:cxn ang="0">
                <a:pos x="T0" y="T1"/>
              </a:cxn>
              <a:cxn ang="0">
                <a:pos x="T2" y="T3"/>
              </a:cxn>
              <a:cxn ang="0">
                <a:pos x="T4" y="T5"/>
              </a:cxn>
              <a:cxn ang="0">
                <a:pos x="T6" y="T7"/>
              </a:cxn>
              <a:cxn ang="0">
                <a:pos x="T8" y="T9"/>
              </a:cxn>
              <a:cxn ang="0">
                <a:pos x="T10" y="T11"/>
              </a:cxn>
            </a:cxnLst>
            <a:rect l="0" t="0" r="r" b="b"/>
            <a:pathLst>
              <a:path w="266" h="146">
                <a:moveTo>
                  <a:pt x="218" y="0"/>
                </a:moveTo>
                <a:lnTo>
                  <a:pt x="0" y="96"/>
                </a:lnTo>
                <a:lnTo>
                  <a:pt x="23" y="146"/>
                </a:lnTo>
                <a:lnTo>
                  <a:pt x="266" y="47"/>
                </a:lnTo>
                <a:lnTo>
                  <a:pt x="254" y="0"/>
                </a:lnTo>
                <a:lnTo>
                  <a:pt x="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81" name="Freeform 144"/>
          <p:cNvSpPr>
            <a:spLocks/>
          </p:cNvSpPr>
          <p:nvPr userDrawn="1"/>
        </p:nvSpPr>
        <p:spPr bwMode="auto">
          <a:xfrm>
            <a:off x="8561168" y="1494253"/>
            <a:ext cx="504239" cy="207017"/>
          </a:xfrm>
          <a:custGeom>
            <a:avLst/>
            <a:gdLst>
              <a:gd name="T0" fmla="*/ 0 w 324"/>
              <a:gd name="T1" fmla="*/ 0 h 133"/>
              <a:gd name="T2" fmla="*/ 61 w 324"/>
              <a:gd name="T3" fmla="*/ 133 h 133"/>
              <a:gd name="T4" fmla="*/ 324 w 324"/>
              <a:gd name="T5" fmla="*/ 28 h 133"/>
              <a:gd name="T6" fmla="*/ 315 w 324"/>
              <a:gd name="T7" fmla="*/ 0 h 133"/>
              <a:gd name="T8" fmla="*/ 0 w 324"/>
              <a:gd name="T9" fmla="*/ 0 h 133"/>
            </a:gdLst>
            <a:ahLst/>
            <a:cxnLst>
              <a:cxn ang="0">
                <a:pos x="T0" y="T1"/>
              </a:cxn>
              <a:cxn ang="0">
                <a:pos x="T2" y="T3"/>
              </a:cxn>
              <a:cxn ang="0">
                <a:pos x="T4" y="T5"/>
              </a:cxn>
              <a:cxn ang="0">
                <a:pos x="T6" y="T7"/>
              </a:cxn>
              <a:cxn ang="0">
                <a:pos x="T8" y="T9"/>
              </a:cxn>
            </a:cxnLst>
            <a:rect l="0" t="0" r="r" b="b"/>
            <a:pathLst>
              <a:path w="324" h="133">
                <a:moveTo>
                  <a:pt x="0" y="0"/>
                </a:moveTo>
                <a:lnTo>
                  <a:pt x="61" y="133"/>
                </a:lnTo>
                <a:lnTo>
                  <a:pt x="324" y="28"/>
                </a:lnTo>
                <a:lnTo>
                  <a:pt x="315" y="0"/>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82" name="Freeform 145"/>
          <p:cNvSpPr>
            <a:spLocks/>
          </p:cNvSpPr>
          <p:nvPr userDrawn="1"/>
        </p:nvSpPr>
        <p:spPr bwMode="auto">
          <a:xfrm>
            <a:off x="8561168" y="1494253"/>
            <a:ext cx="504239" cy="207017"/>
          </a:xfrm>
          <a:custGeom>
            <a:avLst/>
            <a:gdLst>
              <a:gd name="T0" fmla="*/ 0 w 324"/>
              <a:gd name="T1" fmla="*/ 0 h 133"/>
              <a:gd name="T2" fmla="*/ 61 w 324"/>
              <a:gd name="T3" fmla="*/ 133 h 133"/>
              <a:gd name="T4" fmla="*/ 324 w 324"/>
              <a:gd name="T5" fmla="*/ 28 h 133"/>
              <a:gd name="T6" fmla="*/ 315 w 324"/>
              <a:gd name="T7" fmla="*/ 0 h 133"/>
              <a:gd name="T8" fmla="*/ 0 w 324"/>
              <a:gd name="T9" fmla="*/ 0 h 133"/>
            </a:gdLst>
            <a:ahLst/>
            <a:cxnLst>
              <a:cxn ang="0">
                <a:pos x="T0" y="T1"/>
              </a:cxn>
              <a:cxn ang="0">
                <a:pos x="T2" y="T3"/>
              </a:cxn>
              <a:cxn ang="0">
                <a:pos x="T4" y="T5"/>
              </a:cxn>
              <a:cxn ang="0">
                <a:pos x="T6" y="T7"/>
              </a:cxn>
              <a:cxn ang="0">
                <a:pos x="T8" y="T9"/>
              </a:cxn>
            </a:cxnLst>
            <a:rect l="0" t="0" r="r" b="b"/>
            <a:pathLst>
              <a:path w="324" h="133">
                <a:moveTo>
                  <a:pt x="0" y="0"/>
                </a:moveTo>
                <a:lnTo>
                  <a:pt x="61" y="133"/>
                </a:lnTo>
                <a:lnTo>
                  <a:pt x="324" y="28"/>
                </a:lnTo>
                <a:lnTo>
                  <a:pt x="315"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83" name="Freeform 146"/>
          <p:cNvSpPr>
            <a:spLocks/>
          </p:cNvSpPr>
          <p:nvPr userDrawn="1"/>
        </p:nvSpPr>
        <p:spPr bwMode="auto">
          <a:xfrm>
            <a:off x="8920671" y="1494254"/>
            <a:ext cx="144736" cy="77826"/>
          </a:xfrm>
          <a:custGeom>
            <a:avLst/>
            <a:gdLst>
              <a:gd name="T0" fmla="*/ 84 w 93"/>
              <a:gd name="T1" fmla="*/ 0 h 50"/>
              <a:gd name="T2" fmla="*/ 0 w 93"/>
              <a:gd name="T3" fmla="*/ 0 h 50"/>
              <a:gd name="T4" fmla="*/ 37 w 93"/>
              <a:gd name="T5" fmla="*/ 50 h 50"/>
              <a:gd name="T6" fmla="*/ 93 w 93"/>
              <a:gd name="T7" fmla="*/ 28 h 50"/>
              <a:gd name="T8" fmla="*/ 84 w 93"/>
              <a:gd name="T9" fmla="*/ 0 h 50"/>
            </a:gdLst>
            <a:ahLst/>
            <a:cxnLst>
              <a:cxn ang="0">
                <a:pos x="T0" y="T1"/>
              </a:cxn>
              <a:cxn ang="0">
                <a:pos x="T2" y="T3"/>
              </a:cxn>
              <a:cxn ang="0">
                <a:pos x="T4" y="T5"/>
              </a:cxn>
              <a:cxn ang="0">
                <a:pos x="T6" y="T7"/>
              </a:cxn>
              <a:cxn ang="0">
                <a:pos x="T8" y="T9"/>
              </a:cxn>
            </a:cxnLst>
            <a:rect l="0" t="0" r="r" b="b"/>
            <a:pathLst>
              <a:path w="93" h="50">
                <a:moveTo>
                  <a:pt x="84" y="0"/>
                </a:moveTo>
                <a:lnTo>
                  <a:pt x="0" y="0"/>
                </a:lnTo>
                <a:lnTo>
                  <a:pt x="37" y="50"/>
                </a:lnTo>
                <a:lnTo>
                  <a:pt x="93" y="28"/>
                </a:lnTo>
                <a:lnTo>
                  <a:pt x="84" y="0"/>
                </a:ln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84" name="Freeform 147"/>
          <p:cNvSpPr>
            <a:spLocks/>
          </p:cNvSpPr>
          <p:nvPr userDrawn="1"/>
        </p:nvSpPr>
        <p:spPr bwMode="auto">
          <a:xfrm>
            <a:off x="8920671" y="1494254"/>
            <a:ext cx="144736" cy="77826"/>
          </a:xfrm>
          <a:custGeom>
            <a:avLst/>
            <a:gdLst>
              <a:gd name="T0" fmla="*/ 84 w 93"/>
              <a:gd name="T1" fmla="*/ 0 h 50"/>
              <a:gd name="T2" fmla="*/ 0 w 93"/>
              <a:gd name="T3" fmla="*/ 0 h 50"/>
              <a:gd name="T4" fmla="*/ 37 w 93"/>
              <a:gd name="T5" fmla="*/ 50 h 50"/>
              <a:gd name="T6" fmla="*/ 93 w 93"/>
              <a:gd name="T7" fmla="*/ 28 h 50"/>
              <a:gd name="T8" fmla="*/ 84 w 93"/>
              <a:gd name="T9" fmla="*/ 0 h 50"/>
            </a:gdLst>
            <a:ahLst/>
            <a:cxnLst>
              <a:cxn ang="0">
                <a:pos x="T0" y="T1"/>
              </a:cxn>
              <a:cxn ang="0">
                <a:pos x="T2" y="T3"/>
              </a:cxn>
              <a:cxn ang="0">
                <a:pos x="T4" y="T5"/>
              </a:cxn>
              <a:cxn ang="0">
                <a:pos x="T6" y="T7"/>
              </a:cxn>
              <a:cxn ang="0">
                <a:pos x="T8" y="T9"/>
              </a:cxn>
            </a:cxnLst>
            <a:rect l="0" t="0" r="r" b="b"/>
            <a:pathLst>
              <a:path w="93" h="50">
                <a:moveTo>
                  <a:pt x="84" y="0"/>
                </a:moveTo>
                <a:lnTo>
                  <a:pt x="0" y="0"/>
                </a:lnTo>
                <a:lnTo>
                  <a:pt x="37" y="50"/>
                </a:lnTo>
                <a:lnTo>
                  <a:pt x="93" y="28"/>
                </a:lnTo>
                <a:lnTo>
                  <a:pt x="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85" name="Freeform 148"/>
          <p:cNvSpPr>
            <a:spLocks/>
          </p:cNvSpPr>
          <p:nvPr userDrawn="1"/>
        </p:nvSpPr>
        <p:spPr bwMode="auto">
          <a:xfrm>
            <a:off x="9222592" y="2141763"/>
            <a:ext cx="130729" cy="45139"/>
          </a:xfrm>
          <a:custGeom>
            <a:avLst/>
            <a:gdLst>
              <a:gd name="T0" fmla="*/ 0 w 76"/>
              <a:gd name="T1" fmla="*/ 0 h 26"/>
              <a:gd name="T2" fmla="*/ 76 w 76"/>
              <a:gd name="T3" fmla="*/ 26 h 26"/>
              <a:gd name="T4" fmla="*/ 71 w 76"/>
              <a:gd name="T5" fmla="*/ 10 h 26"/>
              <a:gd name="T6" fmla="*/ 0 w 76"/>
              <a:gd name="T7" fmla="*/ 0 h 26"/>
            </a:gdLst>
            <a:ahLst/>
            <a:cxnLst>
              <a:cxn ang="0">
                <a:pos x="T0" y="T1"/>
              </a:cxn>
              <a:cxn ang="0">
                <a:pos x="T2" y="T3"/>
              </a:cxn>
              <a:cxn ang="0">
                <a:pos x="T4" y="T5"/>
              </a:cxn>
              <a:cxn ang="0">
                <a:pos x="T6" y="T7"/>
              </a:cxn>
            </a:cxnLst>
            <a:rect l="0" t="0" r="r" b="b"/>
            <a:pathLst>
              <a:path w="76" h="26">
                <a:moveTo>
                  <a:pt x="0" y="0"/>
                </a:moveTo>
                <a:cubicBezTo>
                  <a:pt x="76" y="26"/>
                  <a:pt x="76" y="26"/>
                  <a:pt x="76" y="26"/>
                </a:cubicBezTo>
                <a:cubicBezTo>
                  <a:pt x="74" y="20"/>
                  <a:pt x="71" y="10"/>
                  <a:pt x="71" y="10"/>
                </a:cubicBezTo>
                <a:lnTo>
                  <a:pt x="0" y="0"/>
                </a:ln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86" name="Freeform 149"/>
          <p:cNvSpPr>
            <a:spLocks/>
          </p:cNvSpPr>
          <p:nvPr userDrawn="1"/>
        </p:nvSpPr>
        <p:spPr bwMode="auto">
          <a:xfrm>
            <a:off x="8729248" y="1610992"/>
            <a:ext cx="342384" cy="132304"/>
          </a:xfrm>
          <a:custGeom>
            <a:avLst/>
            <a:gdLst>
              <a:gd name="T0" fmla="*/ 0 w 220"/>
              <a:gd name="T1" fmla="*/ 85 h 85"/>
              <a:gd name="T2" fmla="*/ 210 w 220"/>
              <a:gd name="T3" fmla="*/ 0 h 85"/>
              <a:gd name="T4" fmla="*/ 220 w 220"/>
              <a:gd name="T5" fmla="*/ 37 h 85"/>
              <a:gd name="T6" fmla="*/ 0 w 220"/>
              <a:gd name="T7" fmla="*/ 85 h 85"/>
            </a:gdLst>
            <a:ahLst/>
            <a:cxnLst>
              <a:cxn ang="0">
                <a:pos x="T0" y="T1"/>
              </a:cxn>
              <a:cxn ang="0">
                <a:pos x="T2" y="T3"/>
              </a:cxn>
              <a:cxn ang="0">
                <a:pos x="T4" y="T5"/>
              </a:cxn>
              <a:cxn ang="0">
                <a:pos x="T6" y="T7"/>
              </a:cxn>
            </a:cxnLst>
            <a:rect l="0" t="0" r="r" b="b"/>
            <a:pathLst>
              <a:path w="220" h="85">
                <a:moveTo>
                  <a:pt x="0" y="85"/>
                </a:moveTo>
                <a:lnTo>
                  <a:pt x="210" y="0"/>
                </a:lnTo>
                <a:lnTo>
                  <a:pt x="220" y="37"/>
                </a:lnTo>
                <a:lnTo>
                  <a:pt x="0" y="85"/>
                </a:lnTo>
                <a:close/>
              </a:path>
            </a:pathLst>
          </a:custGeom>
          <a:solidFill>
            <a:srgbClr val="7043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87" name="Freeform 150"/>
          <p:cNvSpPr>
            <a:spLocks/>
          </p:cNvSpPr>
          <p:nvPr userDrawn="1"/>
        </p:nvSpPr>
        <p:spPr bwMode="auto">
          <a:xfrm>
            <a:off x="8609413" y="4071841"/>
            <a:ext cx="446657" cy="600814"/>
          </a:xfrm>
          <a:custGeom>
            <a:avLst/>
            <a:gdLst>
              <a:gd name="T0" fmla="*/ 201 w 257"/>
              <a:gd name="T1" fmla="*/ 3 h 348"/>
              <a:gd name="T2" fmla="*/ 171 w 257"/>
              <a:gd name="T3" fmla="*/ 43 h 348"/>
              <a:gd name="T4" fmla="*/ 245 w 257"/>
              <a:gd name="T5" fmla="*/ 322 h 348"/>
              <a:gd name="T6" fmla="*/ 257 w 257"/>
              <a:gd name="T7" fmla="*/ 329 h 348"/>
              <a:gd name="T8" fmla="*/ 109 w 257"/>
              <a:gd name="T9" fmla="*/ 318 h 348"/>
              <a:gd name="T10" fmla="*/ 47 w 257"/>
              <a:gd name="T11" fmla="*/ 87 h 348"/>
              <a:gd name="T12" fmla="*/ 201 w 257"/>
              <a:gd name="T13" fmla="*/ 3 h 348"/>
            </a:gdLst>
            <a:ahLst/>
            <a:cxnLst>
              <a:cxn ang="0">
                <a:pos x="T0" y="T1"/>
              </a:cxn>
              <a:cxn ang="0">
                <a:pos x="T2" y="T3"/>
              </a:cxn>
              <a:cxn ang="0">
                <a:pos x="T4" y="T5"/>
              </a:cxn>
              <a:cxn ang="0">
                <a:pos x="T6" y="T7"/>
              </a:cxn>
              <a:cxn ang="0">
                <a:pos x="T8" y="T9"/>
              </a:cxn>
              <a:cxn ang="0">
                <a:pos x="T10" y="T11"/>
              </a:cxn>
              <a:cxn ang="0">
                <a:pos x="T12" y="T13"/>
              </a:cxn>
            </a:cxnLst>
            <a:rect l="0" t="0" r="r" b="b"/>
            <a:pathLst>
              <a:path w="257" h="348">
                <a:moveTo>
                  <a:pt x="201" y="3"/>
                </a:moveTo>
                <a:cubicBezTo>
                  <a:pt x="190" y="15"/>
                  <a:pt x="179" y="28"/>
                  <a:pt x="171" y="43"/>
                </a:cubicBezTo>
                <a:cubicBezTo>
                  <a:pt x="114" y="141"/>
                  <a:pt x="147" y="266"/>
                  <a:pt x="245" y="322"/>
                </a:cubicBezTo>
                <a:cubicBezTo>
                  <a:pt x="249" y="325"/>
                  <a:pt x="253" y="327"/>
                  <a:pt x="257" y="329"/>
                </a:cubicBezTo>
                <a:cubicBezTo>
                  <a:pt x="210" y="348"/>
                  <a:pt x="156" y="346"/>
                  <a:pt x="109" y="318"/>
                </a:cubicBezTo>
                <a:cubicBezTo>
                  <a:pt x="28" y="271"/>
                  <a:pt x="0" y="168"/>
                  <a:pt x="47" y="87"/>
                </a:cubicBezTo>
                <a:cubicBezTo>
                  <a:pt x="80" y="30"/>
                  <a:pt x="140" y="0"/>
                  <a:pt x="201" y="3"/>
                </a:cubicBezTo>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88" name="Freeform 151"/>
          <p:cNvSpPr>
            <a:spLocks noEditPoints="1"/>
          </p:cNvSpPr>
          <p:nvPr userDrawn="1"/>
        </p:nvSpPr>
        <p:spPr bwMode="auto">
          <a:xfrm>
            <a:off x="8674777" y="4115423"/>
            <a:ext cx="540034" cy="507424"/>
          </a:xfrm>
          <a:custGeom>
            <a:avLst/>
            <a:gdLst>
              <a:gd name="T0" fmla="*/ 160 w 311"/>
              <a:gd name="T1" fmla="*/ 63 h 294"/>
              <a:gd name="T2" fmla="*/ 137 w 311"/>
              <a:gd name="T3" fmla="*/ 9 h 294"/>
              <a:gd name="T4" fmla="*/ 133 w 311"/>
              <a:gd name="T5" fmla="*/ 67 h 294"/>
              <a:gd name="T6" fmla="*/ 178 w 311"/>
              <a:gd name="T7" fmla="*/ 44 h 294"/>
              <a:gd name="T8" fmla="*/ 133 w 311"/>
              <a:gd name="T9" fmla="*/ 120 h 294"/>
              <a:gd name="T10" fmla="*/ 178 w 311"/>
              <a:gd name="T11" fmla="*/ 174 h 294"/>
              <a:gd name="T12" fmla="*/ 142 w 311"/>
              <a:gd name="T13" fmla="*/ 174 h 294"/>
              <a:gd name="T14" fmla="*/ 236 w 311"/>
              <a:gd name="T15" fmla="*/ 0 h 294"/>
              <a:gd name="T16" fmla="*/ 208 w 311"/>
              <a:gd name="T17" fmla="*/ 72 h 294"/>
              <a:gd name="T18" fmla="*/ 236 w 311"/>
              <a:gd name="T19" fmla="*/ 0 h 294"/>
              <a:gd name="T20" fmla="*/ 236 w 311"/>
              <a:gd name="T21" fmla="*/ 9 h 294"/>
              <a:gd name="T22" fmla="*/ 199 w 311"/>
              <a:gd name="T23" fmla="*/ 120 h 294"/>
              <a:gd name="T24" fmla="*/ 245 w 311"/>
              <a:gd name="T25" fmla="*/ 174 h 294"/>
              <a:gd name="T26" fmla="*/ 208 w 311"/>
              <a:gd name="T27" fmla="*/ 174 h 294"/>
              <a:gd name="T28" fmla="*/ 240 w 311"/>
              <a:gd name="T29" fmla="*/ 261 h 294"/>
              <a:gd name="T30" fmla="*/ 227 w 311"/>
              <a:gd name="T31" fmla="*/ 222 h 294"/>
              <a:gd name="T32" fmla="*/ 217 w 311"/>
              <a:gd name="T33" fmla="*/ 231 h 294"/>
              <a:gd name="T34" fmla="*/ 204 w 311"/>
              <a:gd name="T35" fmla="*/ 294 h 294"/>
              <a:gd name="T36" fmla="*/ 244 w 311"/>
              <a:gd name="T37" fmla="*/ 291 h 294"/>
              <a:gd name="T38" fmla="*/ 302 w 311"/>
              <a:gd name="T39" fmla="*/ 62 h 294"/>
              <a:gd name="T40" fmla="*/ 284 w 311"/>
              <a:gd name="T41" fmla="*/ 36 h 294"/>
              <a:gd name="T42" fmla="*/ 270 w 311"/>
              <a:gd name="T43" fmla="*/ 72 h 294"/>
              <a:gd name="T44" fmla="*/ 307 w 311"/>
              <a:gd name="T45" fmla="*/ 150 h 294"/>
              <a:gd name="T46" fmla="*/ 293 w 311"/>
              <a:gd name="T47" fmla="*/ 111 h 294"/>
              <a:gd name="T48" fmla="*/ 284 w 311"/>
              <a:gd name="T49" fmla="*/ 120 h 294"/>
              <a:gd name="T50" fmla="*/ 270 w 311"/>
              <a:gd name="T51" fmla="*/ 183 h 294"/>
              <a:gd name="T52" fmla="*/ 307 w 311"/>
              <a:gd name="T53" fmla="*/ 150 h 294"/>
              <a:gd name="T54" fmla="*/ 266 w 311"/>
              <a:gd name="T55" fmla="*/ 231 h 294"/>
              <a:gd name="T56" fmla="*/ 302 w 311"/>
              <a:gd name="T57" fmla="*/ 231 h 294"/>
              <a:gd name="T58" fmla="*/ 36 w 311"/>
              <a:gd name="T59" fmla="*/ 44 h 294"/>
              <a:gd name="T60" fmla="*/ 18 w 311"/>
              <a:gd name="T61" fmla="*/ 48 h 294"/>
              <a:gd name="T62" fmla="*/ 4 w 311"/>
              <a:gd name="T63" fmla="*/ 72 h 294"/>
              <a:gd name="T64" fmla="*/ 41 w 311"/>
              <a:gd name="T65" fmla="*/ 39 h 294"/>
              <a:gd name="T66" fmla="*/ 0 w 311"/>
              <a:gd name="T67" fmla="*/ 174 h 294"/>
              <a:gd name="T68" fmla="*/ 45 w 311"/>
              <a:gd name="T69" fmla="*/ 120 h 294"/>
              <a:gd name="T70" fmla="*/ 9 w 311"/>
              <a:gd name="T71" fmla="*/ 120 h 294"/>
              <a:gd name="T72" fmla="*/ 9 w 311"/>
              <a:gd name="T73" fmla="*/ 222 h 294"/>
              <a:gd name="T74" fmla="*/ 36 w 311"/>
              <a:gd name="T75" fmla="*/ 231 h 294"/>
              <a:gd name="T76" fmla="*/ 36 w 311"/>
              <a:gd name="T77" fmla="*/ 222 h 294"/>
              <a:gd name="T78" fmla="*/ 66 w 311"/>
              <a:gd name="T79" fmla="*/ 63 h 294"/>
              <a:gd name="T80" fmla="*/ 112 w 311"/>
              <a:gd name="T81" fmla="*/ 9 h 294"/>
              <a:gd name="T82" fmla="*/ 75 w 311"/>
              <a:gd name="T83" fmla="*/ 9 h 294"/>
              <a:gd name="T84" fmla="*/ 103 w 311"/>
              <a:gd name="T85" fmla="*/ 155 h 294"/>
              <a:gd name="T86" fmla="*/ 71 w 311"/>
              <a:gd name="T87" fmla="*/ 111 h 294"/>
              <a:gd name="T88" fmla="*/ 84 w 311"/>
              <a:gd name="T89" fmla="*/ 174 h 294"/>
              <a:gd name="T90" fmla="*/ 107 w 311"/>
              <a:gd name="T91" fmla="*/ 183 h 294"/>
              <a:gd name="T92" fmla="*/ 103 w 311"/>
              <a:gd name="T93" fmla="*/ 222 h 294"/>
              <a:gd name="T94" fmla="*/ 75 w 311"/>
              <a:gd name="T95" fmla="*/ 294 h 294"/>
              <a:gd name="T96" fmla="*/ 103 w 311"/>
              <a:gd name="T97" fmla="*/ 222 h 294"/>
              <a:gd name="T98" fmla="*/ 103 w 311"/>
              <a:gd name="T99" fmla="*/ 231 h 294"/>
              <a:gd name="T100" fmla="*/ 169 w 311"/>
              <a:gd name="T101" fmla="*/ 284 h 294"/>
              <a:gd name="T102" fmla="*/ 133 w 311"/>
              <a:gd name="T103" fmla="*/ 226 h 294"/>
              <a:gd name="T104" fmla="*/ 137 w 311"/>
              <a:gd name="T105" fmla="*/ 284 h 294"/>
              <a:gd name="T106" fmla="*/ 178 w 311"/>
              <a:gd name="T107"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1" h="294">
                <a:moveTo>
                  <a:pt x="174" y="39"/>
                </a:moveTo>
                <a:cubicBezTo>
                  <a:pt x="170" y="39"/>
                  <a:pt x="169" y="41"/>
                  <a:pt x="169" y="44"/>
                </a:cubicBezTo>
                <a:cubicBezTo>
                  <a:pt x="169" y="63"/>
                  <a:pt x="169" y="63"/>
                  <a:pt x="169" y="63"/>
                </a:cubicBezTo>
                <a:cubicBezTo>
                  <a:pt x="160" y="63"/>
                  <a:pt x="160" y="63"/>
                  <a:pt x="160" y="63"/>
                </a:cubicBezTo>
                <a:cubicBezTo>
                  <a:pt x="160" y="0"/>
                  <a:pt x="160" y="0"/>
                  <a:pt x="160" y="0"/>
                </a:cubicBezTo>
                <a:cubicBezTo>
                  <a:pt x="137" y="0"/>
                  <a:pt x="137" y="0"/>
                  <a:pt x="137" y="0"/>
                </a:cubicBezTo>
                <a:cubicBezTo>
                  <a:pt x="135" y="0"/>
                  <a:pt x="133" y="1"/>
                  <a:pt x="133" y="5"/>
                </a:cubicBezTo>
                <a:cubicBezTo>
                  <a:pt x="133" y="8"/>
                  <a:pt x="135" y="9"/>
                  <a:pt x="137" y="9"/>
                </a:cubicBezTo>
                <a:cubicBezTo>
                  <a:pt x="151" y="9"/>
                  <a:pt x="151" y="9"/>
                  <a:pt x="151" y="9"/>
                </a:cubicBezTo>
                <a:cubicBezTo>
                  <a:pt x="151" y="63"/>
                  <a:pt x="151" y="63"/>
                  <a:pt x="151" y="63"/>
                </a:cubicBezTo>
                <a:cubicBezTo>
                  <a:pt x="137" y="63"/>
                  <a:pt x="137" y="63"/>
                  <a:pt x="137" y="63"/>
                </a:cubicBezTo>
                <a:cubicBezTo>
                  <a:pt x="135" y="63"/>
                  <a:pt x="133" y="64"/>
                  <a:pt x="133" y="67"/>
                </a:cubicBezTo>
                <a:cubicBezTo>
                  <a:pt x="133" y="71"/>
                  <a:pt x="135" y="72"/>
                  <a:pt x="137" y="72"/>
                </a:cubicBezTo>
                <a:cubicBezTo>
                  <a:pt x="174" y="72"/>
                  <a:pt x="174" y="72"/>
                  <a:pt x="174" y="72"/>
                </a:cubicBezTo>
                <a:cubicBezTo>
                  <a:pt x="176" y="72"/>
                  <a:pt x="178" y="71"/>
                  <a:pt x="178" y="67"/>
                </a:cubicBezTo>
                <a:cubicBezTo>
                  <a:pt x="178" y="44"/>
                  <a:pt x="178" y="44"/>
                  <a:pt x="178" y="44"/>
                </a:cubicBezTo>
                <a:cubicBezTo>
                  <a:pt x="178" y="41"/>
                  <a:pt x="177" y="39"/>
                  <a:pt x="174" y="39"/>
                </a:cubicBezTo>
                <a:close/>
                <a:moveTo>
                  <a:pt x="169" y="111"/>
                </a:moveTo>
                <a:cubicBezTo>
                  <a:pt x="142" y="111"/>
                  <a:pt x="142" y="111"/>
                  <a:pt x="142" y="111"/>
                </a:cubicBezTo>
                <a:cubicBezTo>
                  <a:pt x="137" y="111"/>
                  <a:pt x="133" y="115"/>
                  <a:pt x="133" y="120"/>
                </a:cubicBezTo>
                <a:cubicBezTo>
                  <a:pt x="133" y="174"/>
                  <a:pt x="133" y="174"/>
                  <a:pt x="133" y="174"/>
                </a:cubicBezTo>
                <a:cubicBezTo>
                  <a:pt x="133" y="179"/>
                  <a:pt x="137" y="183"/>
                  <a:pt x="142" y="183"/>
                </a:cubicBezTo>
                <a:cubicBezTo>
                  <a:pt x="169" y="183"/>
                  <a:pt x="169" y="183"/>
                  <a:pt x="169" y="183"/>
                </a:cubicBezTo>
                <a:cubicBezTo>
                  <a:pt x="174" y="183"/>
                  <a:pt x="178" y="179"/>
                  <a:pt x="178" y="174"/>
                </a:cubicBezTo>
                <a:cubicBezTo>
                  <a:pt x="178" y="120"/>
                  <a:pt x="178" y="120"/>
                  <a:pt x="178" y="120"/>
                </a:cubicBezTo>
                <a:cubicBezTo>
                  <a:pt x="178" y="115"/>
                  <a:pt x="174" y="111"/>
                  <a:pt x="169" y="111"/>
                </a:cubicBezTo>
                <a:close/>
                <a:moveTo>
                  <a:pt x="169" y="174"/>
                </a:moveTo>
                <a:cubicBezTo>
                  <a:pt x="142" y="174"/>
                  <a:pt x="142" y="174"/>
                  <a:pt x="142" y="174"/>
                </a:cubicBezTo>
                <a:cubicBezTo>
                  <a:pt x="142" y="120"/>
                  <a:pt x="142" y="120"/>
                  <a:pt x="142" y="120"/>
                </a:cubicBezTo>
                <a:cubicBezTo>
                  <a:pt x="169" y="120"/>
                  <a:pt x="169" y="120"/>
                  <a:pt x="169" y="120"/>
                </a:cubicBezTo>
                <a:lnTo>
                  <a:pt x="169" y="174"/>
                </a:lnTo>
                <a:close/>
                <a:moveTo>
                  <a:pt x="236" y="0"/>
                </a:moveTo>
                <a:cubicBezTo>
                  <a:pt x="208" y="0"/>
                  <a:pt x="208" y="0"/>
                  <a:pt x="208" y="0"/>
                </a:cubicBezTo>
                <a:cubicBezTo>
                  <a:pt x="203" y="0"/>
                  <a:pt x="199" y="4"/>
                  <a:pt x="199" y="9"/>
                </a:cubicBezTo>
                <a:cubicBezTo>
                  <a:pt x="199" y="63"/>
                  <a:pt x="199" y="63"/>
                  <a:pt x="199" y="63"/>
                </a:cubicBezTo>
                <a:cubicBezTo>
                  <a:pt x="199" y="68"/>
                  <a:pt x="203" y="72"/>
                  <a:pt x="208" y="72"/>
                </a:cubicBezTo>
                <a:cubicBezTo>
                  <a:pt x="236" y="72"/>
                  <a:pt x="236" y="72"/>
                  <a:pt x="236" y="72"/>
                </a:cubicBezTo>
                <a:cubicBezTo>
                  <a:pt x="241" y="72"/>
                  <a:pt x="245" y="68"/>
                  <a:pt x="245" y="63"/>
                </a:cubicBezTo>
                <a:cubicBezTo>
                  <a:pt x="245" y="9"/>
                  <a:pt x="245" y="9"/>
                  <a:pt x="245" y="9"/>
                </a:cubicBezTo>
                <a:cubicBezTo>
                  <a:pt x="245" y="4"/>
                  <a:pt x="241" y="0"/>
                  <a:pt x="236" y="0"/>
                </a:cubicBezTo>
                <a:close/>
                <a:moveTo>
                  <a:pt x="236" y="63"/>
                </a:moveTo>
                <a:cubicBezTo>
                  <a:pt x="208" y="63"/>
                  <a:pt x="208" y="63"/>
                  <a:pt x="208" y="63"/>
                </a:cubicBezTo>
                <a:cubicBezTo>
                  <a:pt x="208" y="9"/>
                  <a:pt x="208" y="9"/>
                  <a:pt x="208" y="9"/>
                </a:cubicBezTo>
                <a:cubicBezTo>
                  <a:pt x="236" y="9"/>
                  <a:pt x="236" y="9"/>
                  <a:pt x="236" y="9"/>
                </a:cubicBezTo>
                <a:lnTo>
                  <a:pt x="236" y="63"/>
                </a:lnTo>
                <a:close/>
                <a:moveTo>
                  <a:pt x="236" y="111"/>
                </a:moveTo>
                <a:cubicBezTo>
                  <a:pt x="208" y="111"/>
                  <a:pt x="208" y="111"/>
                  <a:pt x="208" y="111"/>
                </a:cubicBezTo>
                <a:cubicBezTo>
                  <a:pt x="203" y="111"/>
                  <a:pt x="199" y="115"/>
                  <a:pt x="199" y="120"/>
                </a:cubicBezTo>
                <a:cubicBezTo>
                  <a:pt x="199" y="174"/>
                  <a:pt x="199" y="174"/>
                  <a:pt x="199" y="174"/>
                </a:cubicBezTo>
                <a:cubicBezTo>
                  <a:pt x="199" y="179"/>
                  <a:pt x="203" y="183"/>
                  <a:pt x="208" y="183"/>
                </a:cubicBezTo>
                <a:cubicBezTo>
                  <a:pt x="236" y="183"/>
                  <a:pt x="236" y="183"/>
                  <a:pt x="236" y="183"/>
                </a:cubicBezTo>
                <a:cubicBezTo>
                  <a:pt x="241" y="183"/>
                  <a:pt x="245" y="179"/>
                  <a:pt x="245" y="174"/>
                </a:cubicBezTo>
                <a:cubicBezTo>
                  <a:pt x="245" y="120"/>
                  <a:pt x="245" y="120"/>
                  <a:pt x="245" y="120"/>
                </a:cubicBezTo>
                <a:cubicBezTo>
                  <a:pt x="245" y="115"/>
                  <a:pt x="241" y="111"/>
                  <a:pt x="236" y="111"/>
                </a:cubicBezTo>
                <a:close/>
                <a:moveTo>
                  <a:pt x="236" y="174"/>
                </a:moveTo>
                <a:cubicBezTo>
                  <a:pt x="208" y="174"/>
                  <a:pt x="208" y="174"/>
                  <a:pt x="208" y="174"/>
                </a:cubicBezTo>
                <a:cubicBezTo>
                  <a:pt x="208" y="120"/>
                  <a:pt x="208" y="120"/>
                  <a:pt x="208" y="120"/>
                </a:cubicBezTo>
                <a:cubicBezTo>
                  <a:pt x="236" y="120"/>
                  <a:pt x="236" y="120"/>
                  <a:pt x="236" y="120"/>
                </a:cubicBezTo>
                <a:lnTo>
                  <a:pt x="236" y="174"/>
                </a:lnTo>
                <a:close/>
                <a:moveTo>
                  <a:pt x="240" y="261"/>
                </a:moveTo>
                <a:cubicBezTo>
                  <a:pt x="237" y="261"/>
                  <a:pt x="236" y="263"/>
                  <a:pt x="236" y="266"/>
                </a:cubicBezTo>
                <a:cubicBezTo>
                  <a:pt x="235" y="284"/>
                  <a:pt x="235" y="284"/>
                  <a:pt x="235" y="284"/>
                </a:cubicBezTo>
                <a:cubicBezTo>
                  <a:pt x="227" y="284"/>
                  <a:pt x="227" y="284"/>
                  <a:pt x="227" y="284"/>
                </a:cubicBezTo>
                <a:cubicBezTo>
                  <a:pt x="227" y="222"/>
                  <a:pt x="227" y="222"/>
                  <a:pt x="227" y="222"/>
                </a:cubicBezTo>
                <a:cubicBezTo>
                  <a:pt x="204" y="222"/>
                  <a:pt x="204" y="222"/>
                  <a:pt x="204" y="222"/>
                </a:cubicBezTo>
                <a:cubicBezTo>
                  <a:pt x="201" y="222"/>
                  <a:pt x="199" y="223"/>
                  <a:pt x="199" y="226"/>
                </a:cubicBezTo>
                <a:cubicBezTo>
                  <a:pt x="199" y="230"/>
                  <a:pt x="201" y="231"/>
                  <a:pt x="204" y="231"/>
                </a:cubicBezTo>
                <a:cubicBezTo>
                  <a:pt x="217" y="231"/>
                  <a:pt x="217" y="231"/>
                  <a:pt x="217" y="231"/>
                </a:cubicBezTo>
                <a:cubicBezTo>
                  <a:pt x="217" y="284"/>
                  <a:pt x="217" y="284"/>
                  <a:pt x="217" y="284"/>
                </a:cubicBezTo>
                <a:cubicBezTo>
                  <a:pt x="204" y="284"/>
                  <a:pt x="204" y="284"/>
                  <a:pt x="204" y="284"/>
                </a:cubicBezTo>
                <a:cubicBezTo>
                  <a:pt x="201" y="284"/>
                  <a:pt x="199" y="286"/>
                  <a:pt x="199" y="289"/>
                </a:cubicBezTo>
                <a:cubicBezTo>
                  <a:pt x="199" y="292"/>
                  <a:pt x="201" y="294"/>
                  <a:pt x="204" y="294"/>
                </a:cubicBezTo>
                <a:cubicBezTo>
                  <a:pt x="240" y="294"/>
                  <a:pt x="240" y="294"/>
                  <a:pt x="240" y="294"/>
                </a:cubicBezTo>
                <a:cubicBezTo>
                  <a:pt x="240" y="294"/>
                  <a:pt x="240" y="294"/>
                  <a:pt x="240" y="294"/>
                </a:cubicBezTo>
                <a:cubicBezTo>
                  <a:pt x="242" y="294"/>
                  <a:pt x="244" y="293"/>
                  <a:pt x="244" y="291"/>
                </a:cubicBezTo>
                <a:cubicBezTo>
                  <a:pt x="244" y="291"/>
                  <a:pt x="244" y="291"/>
                  <a:pt x="244" y="291"/>
                </a:cubicBezTo>
                <a:cubicBezTo>
                  <a:pt x="245" y="290"/>
                  <a:pt x="245" y="290"/>
                  <a:pt x="245" y="289"/>
                </a:cubicBezTo>
                <a:cubicBezTo>
                  <a:pt x="245" y="266"/>
                  <a:pt x="245" y="266"/>
                  <a:pt x="245" y="266"/>
                </a:cubicBezTo>
                <a:cubicBezTo>
                  <a:pt x="245" y="263"/>
                  <a:pt x="243" y="261"/>
                  <a:pt x="240" y="261"/>
                </a:cubicBezTo>
                <a:close/>
                <a:moveTo>
                  <a:pt x="302" y="62"/>
                </a:moveTo>
                <a:cubicBezTo>
                  <a:pt x="302" y="63"/>
                  <a:pt x="302" y="63"/>
                  <a:pt x="302" y="63"/>
                </a:cubicBezTo>
                <a:cubicBezTo>
                  <a:pt x="293" y="63"/>
                  <a:pt x="293" y="63"/>
                  <a:pt x="293" y="63"/>
                </a:cubicBezTo>
                <a:cubicBezTo>
                  <a:pt x="293" y="48"/>
                  <a:pt x="293" y="48"/>
                  <a:pt x="293" y="48"/>
                </a:cubicBezTo>
                <a:cubicBezTo>
                  <a:pt x="290" y="44"/>
                  <a:pt x="287" y="40"/>
                  <a:pt x="284" y="36"/>
                </a:cubicBezTo>
                <a:cubicBezTo>
                  <a:pt x="284" y="63"/>
                  <a:pt x="284" y="63"/>
                  <a:pt x="284" y="63"/>
                </a:cubicBezTo>
                <a:cubicBezTo>
                  <a:pt x="270" y="63"/>
                  <a:pt x="270" y="63"/>
                  <a:pt x="270" y="63"/>
                </a:cubicBezTo>
                <a:cubicBezTo>
                  <a:pt x="268" y="63"/>
                  <a:pt x="266" y="64"/>
                  <a:pt x="266" y="67"/>
                </a:cubicBezTo>
                <a:cubicBezTo>
                  <a:pt x="266" y="71"/>
                  <a:pt x="268" y="72"/>
                  <a:pt x="270" y="72"/>
                </a:cubicBezTo>
                <a:cubicBezTo>
                  <a:pt x="307" y="72"/>
                  <a:pt x="307" y="72"/>
                  <a:pt x="307" y="72"/>
                </a:cubicBezTo>
                <a:cubicBezTo>
                  <a:pt x="307" y="72"/>
                  <a:pt x="307" y="72"/>
                  <a:pt x="307" y="72"/>
                </a:cubicBezTo>
                <a:cubicBezTo>
                  <a:pt x="306" y="69"/>
                  <a:pt x="304" y="65"/>
                  <a:pt x="302" y="62"/>
                </a:cubicBezTo>
                <a:close/>
                <a:moveTo>
                  <a:pt x="307" y="150"/>
                </a:moveTo>
                <a:cubicBezTo>
                  <a:pt x="303" y="150"/>
                  <a:pt x="302" y="152"/>
                  <a:pt x="302" y="155"/>
                </a:cubicBezTo>
                <a:cubicBezTo>
                  <a:pt x="302" y="174"/>
                  <a:pt x="302" y="174"/>
                  <a:pt x="302" y="174"/>
                </a:cubicBezTo>
                <a:cubicBezTo>
                  <a:pt x="293" y="174"/>
                  <a:pt x="293" y="174"/>
                  <a:pt x="293" y="174"/>
                </a:cubicBezTo>
                <a:cubicBezTo>
                  <a:pt x="293" y="111"/>
                  <a:pt x="293" y="111"/>
                  <a:pt x="293" y="111"/>
                </a:cubicBezTo>
                <a:cubicBezTo>
                  <a:pt x="270" y="111"/>
                  <a:pt x="270" y="111"/>
                  <a:pt x="270" y="111"/>
                </a:cubicBezTo>
                <a:cubicBezTo>
                  <a:pt x="268" y="111"/>
                  <a:pt x="266" y="112"/>
                  <a:pt x="266" y="116"/>
                </a:cubicBezTo>
                <a:cubicBezTo>
                  <a:pt x="266" y="119"/>
                  <a:pt x="268" y="120"/>
                  <a:pt x="270" y="120"/>
                </a:cubicBezTo>
                <a:cubicBezTo>
                  <a:pt x="284" y="120"/>
                  <a:pt x="284" y="120"/>
                  <a:pt x="284" y="120"/>
                </a:cubicBezTo>
                <a:cubicBezTo>
                  <a:pt x="284" y="174"/>
                  <a:pt x="284" y="174"/>
                  <a:pt x="284" y="174"/>
                </a:cubicBezTo>
                <a:cubicBezTo>
                  <a:pt x="270" y="174"/>
                  <a:pt x="270" y="174"/>
                  <a:pt x="270" y="174"/>
                </a:cubicBezTo>
                <a:cubicBezTo>
                  <a:pt x="268" y="174"/>
                  <a:pt x="266" y="175"/>
                  <a:pt x="266" y="178"/>
                </a:cubicBezTo>
                <a:cubicBezTo>
                  <a:pt x="266" y="182"/>
                  <a:pt x="268" y="183"/>
                  <a:pt x="270" y="183"/>
                </a:cubicBezTo>
                <a:cubicBezTo>
                  <a:pt x="307" y="183"/>
                  <a:pt x="307" y="183"/>
                  <a:pt x="307" y="183"/>
                </a:cubicBezTo>
                <a:cubicBezTo>
                  <a:pt x="309" y="183"/>
                  <a:pt x="311" y="182"/>
                  <a:pt x="311" y="178"/>
                </a:cubicBezTo>
                <a:cubicBezTo>
                  <a:pt x="311" y="155"/>
                  <a:pt x="311" y="155"/>
                  <a:pt x="311" y="155"/>
                </a:cubicBezTo>
                <a:cubicBezTo>
                  <a:pt x="311" y="152"/>
                  <a:pt x="310" y="150"/>
                  <a:pt x="307" y="150"/>
                </a:cubicBezTo>
                <a:close/>
                <a:moveTo>
                  <a:pt x="307" y="223"/>
                </a:moveTo>
                <a:cubicBezTo>
                  <a:pt x="305" y="222"/>
                  <a:pt x="304" y="222"/>
                  <a:pt x="302" y="222"/>
                </a:cubicBezTo>
                <a:cubicBezTo>
                  <a:pt x="275" y="222"/>
                  <a:pt x="275" y="222"/>
                  <a:pt x="275" y="222"/>
                </a:cubicBezTo>
                <a:cubicBezTo>
                  <a:pt x="270" y="222"/>
                  <a:pt x="266" y="226"/>
                  <a:pt x="266" y="231"/>
                </a:cubicBezTo>
                <a:cubicBezTo>
                  <a:pt x="266" y="276"/>
                  <a:pt x="266" y="276"/>
                  <a:pt x="266" y="276"/>
                </a:cubicBezTo>
                <a:cubicBezTo>
                  <a:pt x="269" y="273"/>
                  <a:pt x="272" y="270"/>
                  <a:pt x="275" y="267"/>
                </a:cubicBezTo>
                <a:cubicBezTo>
                  <a:pt x="275" y="231"/>
                  <a:pt x="275" y="231"/>
                  <a:pt x="275" y="231"/>
                </a:cubicBezTo>
                <a:cubicBezTo>
                  <a:pt x="302" y="231"/>
                  <a:pt x="302" y="231"/>
                  <a:pt x="302" y="231"/>
                </a:cubicBezTo>
                <a:cubicBezTo>
                  <a:pt x="302" y="232"/>
                  <a:pt x="302" y="232"/>
                  <a:pt x="302" y="232"/>
                </a:cubicBezTo>
                <a:cubicBezTo>
                  <a:pt x="304" y="229"/>
                  <a:pt x="305" y="226"/>
                  <a:pt x="307" y="223"/>
                </a:cubicBezTo>
                <a:close/>
                <a:moveTo>
                  <a:pt x="41" y="39"/>
                </a:moveTo>
                <a:cubicBezTo>
                  <a:pt x="37" y="39"/>
                  <a:pt x="36" y="41"/>
                  <a:pt x="36" y="44"/>
                </a:cubicBezTo>
                <a:cubicBezTo>
                  <a:pt x="36" y="63"/>
                  <a:pt x="36" y="63"/>
                  <a:pt x="36" y="63"/>
                </a:cubicBezTo>
                <a:cubicBezTo>
                  <a:pt x="27" y="63"/>
                  <a:pt x="27" y="63"/>
                  <a:pt x="27" y="63"/>
                </a:cubicBezTo>
                <a:cubicBezTo>
                  <a:pt x="27" y="37"/>
                  <a:pt x="27" y="37"/>
                  <a:pt x="27" y="37"/>
                </a:cubicBezTo>
                <a:cubicBezTo>
                  <a:pt x="24" y="40"/>
                  <a:pt x="21" y="44"/>
                  <a:pt x="18" y="48"/>
                </a:cubicBezTo>
                <a:cubicBezTo>
                  <a:pt x="18" y="63"/>
                  <a:pt x="18" y="63"/>
                  <a:pt x="18" y="63"/>
                </a:cubicBezTo>
                <a:cubicBezTo>
                  <a:pt x="9" y="63"/>
                  <a:pt x="9" y="63"/>
                  <a:pt x="9" y="63"/>
                </a:cubicBezTo>
                <a:cubicBezTo>
                  <a:pt x="7" y="66"/>
                  <a:pt x="5" y="69"/>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9" y="270"/>
                  <a:pt x="42" y="273"/>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6"/>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55"/>
                  <a:pt x="112" y="155"/>
                  <a:pt x="112" y="155"/>
                </a:cubicBezTo>
                <a:cubicBezTo>
                  <a:pt x="112" y="152"/>
                  <a:pt x="111" y="150"/>
                  <a:pt x="107" y="150"/>
                </a:cubicBezTo>
                <a:close/>
                <a:moveTo>
                  <a:pt x="103" y="222"/>
                </a:moveTo>
                <a:cubicBezTo>
                  <a:pt x="75" y="222"/>
                  <a:pt x="75" y="222"/>
                  <a:pt x="75" y="222"/>
                </a:cubicBezTo>
                <a:cubicBezTo>
                  <a:pt x="70" y="222"/>
                  <a:pt x="66" y="226"/>
                  <a:pt x="66" y="231"/>
                </a:cubicBezTo>
                <a:cubicBezTo>
                  <a:pt x="66" y="284"/>
                  <a:pt x="66" y="284"/>
                  <a:pt x="66" y="284"/>
                </a:cubicBezTo>
                <a:cubicBezTo>
                  <a:pt x="66" y="290"/>
                  <a:pt x="70" y="294"/>
                  <a:pt x="75" y="294"/>
                </a:cubicBezTo>
                <a:cubicBezTo>
                  <a:pt x="103" y="294"/>
                  <a:pt x="103" y="294"/>
                  <a:pt x="103" y="294"/>
                </a:cubicBezTo>
                <a:cubicBezTo>
                  <a:pt x="108" y="294"/>
                  <a:pt x="112" y="290"/>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74" y="261"/>
                </a:moveTo>
                <a:cubicBezTo>
                  <a:pt x="170" y="261"/>
                  <a:pt x="169" y="263"/>
                  <a:pt x="169" y="266"/>
                </a:cubicBezTo>
                <a:cubicBezTo>
                  <a:pt x="169" y="284"/>
                  <a:pt x="169" y="284"/>
                  <a:pt x="169" y="284"/>
                </a:cubicBezTo>
                <a:cubicBezTo>
                  <a:pt x="160" y="284"/>
                  <a:pt x="160" y="284"/>
                  <a:pt x="160" y="284"/>
                </a:cubicBezTo>
                <a:cubicBezTo>
                  <a:pt x="160" y="222"/>
                  <a:pt x="160" y="222"/>
                  <a:pt x="160" y="222"/>
                </a:cubicBezTo>
                <a:cubicBezTo>
                  <a:pt x="137" y="222"/>
                  <a:pt x="137" y="222"/>
                  <a:pt x="137" y="222"/>
                </a:cubicBezTo>
                <a:cubicBezTo>
                  <a:pt x="135" y="222"/>
                  <a:pt x="133" y="223"/>
                  <a:pt x="133" y="226"/>
                </a:cubicBezTo>
                <a:cubicBezTo>
                  <a:pt x="133" y="230"/>
                  <a:pt x="135" y="231"/>
                  <a:pt x="137" y="231"/>
                </a:cubicBezTo>
                <a:cubicBezTo>
                  <a:pt x="151" y="231"/>
                  <a:pt x="151" y="231"/>
                  <a:pt x="151" y="231"/>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66"/>
                  <a:pt x="178" y="266"/>
                  <a:pt x="178" y="266"/>
                </a:cubicBezTo>
                <a:cubicBezTo>
                  <a:pt x="178" y="263"/>
                  <a:pt x="177" y="261"/>
                  <a:pt x="174" y="261"/>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89" name="Freeform 152"/>
          <p:cNvSpPr>
            <a:spLocks noEditPoints="1"/>
          </p:cNvSpPr>
          <p:nvPr userDrawn="1"/>
        </p:nvSpPr>
        <p:spPr bwMode="auto">
          <a:xfrm>
            <a:off x="8674777" y="4115423"/>
            <a:ext cx="309703" cy="507424"/>
          </a:xfrm>
          <a:custGeom>
            <a:avLst/>
            <a:gdLst>
              <a:gd name="T0" fmla="*/ 133 w 178"/>
              <a:gd name="T1" fmla="*/ 5 h 294"/>
              <a:gd name="T2" fmla="*/ 138 w 178"/>
              <a:gd name="T3" fmla="*/ 9 h 294"/>
              <a:gd name="T4" fmla="*/ 137 w 178"/>
              <a:gd name="T5" fmla="*/ 0 h 294"/>
              <a:gd name="T6" fmla="*/ 36 w 178"/>
              <a:gd name="T7" fmla="*/ 44 h 294"/>
              <a:gd name="T8" fmla="*/ 27 w 178"/>
              <a:gd name="T9" fmla="*/ 63 h 294"/>
              <a:gd name="T10" fmla="*/ 22 w 178"/>
              <a:gd name="T11" fmla="*/ 43 h 294"/>
              <a:gd name="T12" fmla="*/ 18 w 178"/>
              <a:gd name="T13" fmla="*/ 48 h 294"/>
              <a:gd name="T14" fmla="*/ 9 w 178"/>
              <a:gd name="T15" fmla="*/ 63 h 294"/>
              <a:gd name="T16" fmla="*/ 4 w 178"/>
              <a:gd name="T17" fmla="*/ 72 h 294"/>
              <a:gd name="T18" fmla="*/ 4 w 178"/>
              <a:gd name="T19" fmla="*/ 72 h 294"/>
              <a:gd name="T20" fmla="*/ 45 w 178"/>
              <a:gd name="T21" fmla="*/ 67 h 294"/>
              <a:gd name="T22" fmla="*/ 41 w 178"/>
              <a:gd name="T23" fmla="*/ 39 h 294"/>
              <a:gd name="T24" fmla="*/ 9 w 178"/>
              <a:gd name="T25" fmla="*/ 111 h 294"/>
              <a:gd name="T26" fmla="*/ 0 w 178"/>
              <a:gd name="T27" fmla="*/ 174 h 294"/>
              <a:gd name="T28" fmla="*/ 36 w 178"/>
              <a:gd name="T29" fmla="*/ 183 h 294"/>
              <a:gd name="T30" fmla="*/ 45 w 178"/>
              <a:gd name="T31" fmla="*/ 120 h 294"/>
              <a:gd name="T32" fmla="*/ 36 w 178"/>
              <a:gd name="T33" fmla="*/ 174 h 294"/>
              <a:gd name="T34" fmla="*/ 9 w 178"/>
              <a:gd name="T35" fmla="*/ 120 h 294"/>
              <a:gd name="T36" fmla="*/ 36 w 178"/>
              <a:gd name="T37" fmla="*/ 174 h 294"/>
              <a:gd name="T38" fmla="*/ 9 w 178"/>
              <a:gd name="T39" fmla="*/ 222 h 294"/>
              <a:gd name="T40" fmla="*/ 4 w 178"/>
              <a:gd name="T41" fmla="*/ 223 h 294"/>
              <a:gd name="T42" fmla="*/ 9 w 178"/>
              <a:gd name="T43" fmla="*/ 231 h 294"/>
              <a:gd name="T44" fmla="*/ 36 w 178"/>
              <a:gd name="T45" fmla="*/ 267 h 294"/>
              <a:gd name="T46" fmla="*/ 45 w 178"/>
              <a:gd name="T47" fmla="*/ 275 h 294"/>
              <a:gd name="T48" fmla="*/ 36 w 178"/>
              <a:gd name="T49" fmla="*/ 222 h 294"/>
              <a:gd name="T50" fmla="*/ 75 w 178"/>
              <a:gd name="T51" fmla="*/ 0 h 294"/>
              <a:gd name="T52" fmla="*/ 66 w 178"/>
              <a:gd name="T53" fmla="*/ 63 h 294"/>
              <a:gd name="T54" fmla="*/ 103 w 178"/>
              <a:gd name="T55" fmla="*/ 72 h 294"/>
              <a:gd name="T56" fmla="*/ 112 w 178"/>
              <a:gd name="T57" fmla="*/ 9 h 294"/>
              <a:gd name="T58" fmla="*/ 103 w 178"/>
              <a:gd name="T59" fmla="*/ 63 h 294"/>
              <a:gd name="T60" fmla="*/ 75 w 178"/>
              <a:gd name="T61" fmla="*/ 9 h 294"/>
              <a:gd name="T62" fmla="*/ 103 w 178"/>
              <a:gd name="T63" fmla="*/ 63 h 294"/>
              <a:gd name="T64" fmla="*/ 107 w 178"/>
              <a:gd name="T65" fmla="*/ 150 h 294"/>
              <a:gd name="T66" fmla="*/ 103 w 178"/>
              <a:gd name="T67" fmla="*/ 174 h 294"/>
              <a:gd name="T68" fmla="*/ 94 w 178"/>
              <a:gd name="T69" fmla="*/ 111 h 294"/>
              <a:gd name="T70" fmla="*/ 66 w 178"/>
              <a:gd name="T71" fmla="*/ 115 h 294"/>
              <a:gd name="T72" fmla="*/ 84 w 178"/>
              <a:gd name="T73" fmla="*/ 120 h 294"/>
              <a:gd name="T74" fmla="*/ 71 w 178"/>
              <a:gd name="T75" fmla="*/ 174 h 294"/>
              <a:gd name="T76" fmla="*/ 71 w 178"/>
              <a:gd name="T77" fmla="*/ 183 h 294"/>
              <a:gd name="T78" fmla="*/ 112 w 178"/>
              <a:gd name="T79" fmla="*/ 178 h 294"/>
              <a:gd name="T80" fmla="*/ 107 w 178"/>
              <a:gd name="T81" fmla="*/ 150 h 294"/>
              <a:gd name="T82" fmla="*/ 75 w 178"/>
              <a:gd name="T83" fmla="*/ 222 h 294"/>
              <a:gd name="T84" fmla="*/ 66 w 178"/>
              <a:gd name="T85" fmla="*/ 284 h 294"/>
              <a:gd name="T86" fmla="*/ 103 w 178"/>
              <a:gd name="T87" fmla="*/ 294 h 294"/>
              <a:gd name="T88" fmla="*/ 112 w 178"/>
              <a:gd name="T89" fmla="*/ 231 h 294"/>
              <a:gd name="T90" fmla="*/ 103 w 178"/>
              <a:gd name="T91" fmla="*/ 284 h 294"/>
              <a:gd name="T92" fmla="*/ 75 w 178"/>
              <a:gd name="T93" fmla="*/ 231 h 294"/>
              <a:gd name="T94" fmla="*/ 103 w 178"/>
              <a:gd name="T95" fmla="*/ 284 h 294"/>
              <a:gd name="T96" fmla="*/ 133 w 178"/>
              <a:gd name="T97" fmla="*/ 226 h 294"/>
              <a:gd name="T98" fmla="*/ 138 w 178"/>
              <a:gd name="T99" fmla="*/ 231 h 294"/>
              <a:gd name="T100" fmla="*/ 169 w 178"/>
              <a:gd name="T101" fmla="*/ 269 h 294"/>
              <a:gd name="T102" fmla="*/ 160 w 178"/>
              <a:gd name="T103" fmla="*/ 284 h 294"/>
              <a:gd name="T104" fmla="*/ 151 w 178"/>
              <a:gd name="T105" fmla="*/ 249 h 294"/>
              <a:gd name="T106" fmla="*/ 137 w 178"/>
              <a:gd name="T107" fmla="*/ 284 h 294"/>
              <a:gd name="T108" fmla="*/ 137 w 178"/>
              <a:gd name="T109" fmla="*/ 294 h 294"/>
              <a:gd name="T110" fmla="*/ 178 w 178"/>
              <a:gd name="T111" fmla="*/ 289 h 294"/>
              <a:gd name="T112" fmla="*/ 169 w 178"/>
              <a:gd name="T113"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94">
                <a:moveTo>
                  <a:pt x="137" y="0"/>
                </a:moveTo>
                <a:cubicBezTo>
                  <a:pt x="135" y="0"/>
                  <a:pt x="133" y="1"/>
                  <a:pt x="133" y="5"/>
                </a:cubicBezTo>
                <a:cubicBezTo>
                  <a:pt x="133" y="8"/>
                  <a:pt x="135" y="9"/>
                  <a:pt x="137" y="9"/>
                </a:cubicBezTo>
                <a:cubicBezTo>
                  <a:pt x="138" y="9"/>
                  <a:pt x="138" y="9"/>
                  <a:pt x="138" y="9"/>
                </a:cubicBezTo>
                <a:cubicBezTo>
                  <a:pt x="140" y="6"/>
                  <a:pt x="142" y="3"/>
                  <a:pt x="144" y="0"/>
                </a:cubicBezTo>
                <a:lnTo>
                  <a:pt x="137" y="0"/>
                </a:lnTo>
                <a:close/>
                <a:moveTo>
                  <a:pt x="41" y="39"/>
                </a:moveTo>
                <a:cubicBezTo>
                  <a:pt x="37" y="39"/>
                  <a:pt x="36" y="41"/>
                  <a:pt x="36" y="44"/>
                </a:cubicBezTo>
                <a:cubicBezTo>
                  <a:pt x="36" y="63"/>
                  <a:pt x="36" y="63"/>
                  <a:pt x="36" y="63"/>
                </a:cubicBezTo>
                <a:cubicBezTo>
                  <a:pt x="27" y="63"/>
                  <a:pt x="27" y="63"/>
                  <a:pt x="27" y="63"/>
                </a:cubicBezTo>
                <a:cubicBezTo>
                  <a:pt x="27" y="36"/>
                  <a:pt x="27" y="36"/>
                  <a:pt x="27" y="36"/>
                </a:cubicBezTo>
                <a:cubicBezTo>
                  <a:pt x="25" y="38"/>
                  <a:pt x="24" y="40"/>
                  <a:pt x="22" y="43"/>
                </a:cubicBezTo>
                <a:cubicBezTo>
                  <a:pt x="22" y="43"/>
                  <a:pt x="21" y="43"/>
                  <a:pt x="21" y="44"/>
                </a:cubicBezTo>
                <a:cubicBezTo>
                  <a:pt x="20" y="45"/>
                  <a:pt x="19" y="47"/>
                  <a:pt x="18" y="48"/>
                </a:cubicBezTo>
                <a:cubicBezTo>
                  <a:pt x="18" y="63"/>
                  <a:pt x="18" y="63"/>
                  <a:pt x="18" y="63"/>
                </a:cubicBezTo>
                <a:cubicBezTo>
                  <a:pt x="9" y="63"/>
                  <a:pt x="9" y="63"/>
                  <a:pt x="9" y="63"/>
                </a:cubicBezTo>
                <a:cubicBezTo>
                  <a:pt x="8" y="63"/>
                  <a:pt x="8" y="63"/>
                  <a:pt x="8" y="63"/>
                </a:cubicBezTo>
                <a:cubicBezTo>
                  <a:pt x="7" y="66"/>
                  <a:pt x="5" y="69"/>
                  <a:pt x="4" y="72"/>
                </a:cubicBezTo>
                <a:cubicBezTo>
                  <a:pt x="4" y="72"/>
                  <a:pt x="4" y="72"/>
                  <a:pt x="4" y="72"/>
                </a:cubicBezTo>
                <a:cubicBezTo>
                  <a:pt x="4" y="72"/>
                  <a:pt x="4" y="72"/>
                  <a:pt x="4" y="72"/>
                </a:cubicBezTo>
                <a:cubicBezTo>
                  <a:pt x="41" y="72"/>
                  <a:pt x="41" y="72"/>
                  <a:pt x="41" y="72"/>
                </a:cubicBezTo>
                <a:cubicBezTo>
                  <a:pt x="43" y="72"/>
                  <a:pt x="45" y="71"/>
                  <a:pt x="45" y="67"/>
                </a:cubicBezTo>
                <a:cubicBezTo>
                  <a:pt x="45" y="44"/>
                  <a:pt x="45" y="44"/>
                  <a:pt x="45" y="44"/>
                </a:cubicBezTo>
                <a:cubicBezTo>
                  <a:pt x="45" y="41"/>
                  <a:pt x="44" y="39"/>
                  <a:pt x="41" y="39"/>
                </a:cubicBezTo>
                <a:close/>
                <a:moveTo>
                  <a:pt x="36" y="111"/>
                </a:moveTo>
                <a:cubicBezTo>
                  <a:pt x="9" y="111"/>
                  <a:pt x="9" y="111"/>
                  <a:pt x="9" y="111"/>
                </a:cubicBezTo>
                <a:cubicBezTo>
                  <a:pt x="4" y="111"/>
                  <a:pt x="0" y="115"/>
                  <a:pt x="0" y="120"/>
                </a:cubicBezTo>
                <a:cubicBezTo>
                  <a:pt x="0" y="174"/>
                  <a:pt x="0" y="174"/>
                  <a:pt x="0" y="174"/>
                </a:cubicBezTo>
                <a:cubicBezTo>
                  <a:pt x="0" y="179"/>
                  <a:pt x="4" y="183"/>
                  <a:pt x="9" y="183"/>
                </a:cubicBezTo>
                <a:cubicBezTo>
                  <a:pt x="36" y="183"/>
                  <a:pt x="36" y="183"/>
                  <a:pt x="36" y="183"/>
                </a:cubicBezTo>
                <a:cubicBezTo>
                  <a:pt x="41" y="183"/>
                  <a:pt x="45" y="179"/>
                  <a:pt x="45" y="174"/>
                </a:cubicBezTo>
                <a:cubicBezTo>
                  <a:pt x="45" y="120"/>
                  <a:pt x="45" y="120"/>
                  <a:pt x="45" y="120"/>
                </a:cubicBezTo>
                <a:cubicBezTo>
                  <a:pt x="45" y="115"/>
                  <a:pt x="41" y="111"/>
                  <a:pt x="36" y="111"/>
                </a:cubicBezTo>
                <a:close/>
                <a:moveTo>
                  <a:pt x="36" y="174"/>
                </a:moveTo>
                <a:cubicBezTo>
                  <a:pt x="9" y="174"/>
                  <a:pt x="9" y="174"/>
                  <a:pt x="9" y="174"/>
                </a:cubicBezTo>
                <a:cubicBezTo>
                  <a:pt x="9" y="120"/>
                  <a:pt x="9" y="120"/>
                  <a:pt x="9" y="120"/>
                </a:cubicBezTo>
                <a:cubicBezTo>
                  <a:pt x="36" y="120"/>
                  <a:pt x="36" y="120"/>
                  <a:pt x="36" y="120"/>
                </a:cubicBezTo>
                <a:lnTo>
                  <a:pt x="36" y="174"/>
                </a:lnTo>
                <a:close/>
                <a:moveTo>
                  <a:pt x="36" y="222"/>
                </a:moveTo>
                <a:cubicBezTo>
                  <a:pt x="9" y="222"/>
                  <a:pt x="9" y="222"/>
                  <a:pt x="9" y="222"/>
                </a:cubicBezTo>
                <a:cubicBezTo>
                  <a:pt x="7" y="222"/>
                  <a:pt x="6" y="222"/>
                  <a:pt x="4" y="223"/>
                </a:cubicBezTo>
                <a:cubicBezTo>
                  <a:pt x="4" y="223"/>
                  <a:pt x="4" y="223"/>
                  <a:pt x="4" y="223"/>
                </a:cubicBezTo>
                <a:cubicBezTo>
                  <a:pt x="6" y="226"/>
                  <a:pt x="7" y="229"/>
                  <a:pt x="9" y="232"/>
                </a:cubicBezTo>
                <a:cubicBezTo>
                  <a:pt x="9" y="231"/>
                  <a:pt x="9" y="231"/>
                  <a:pt x="9" y="231"/>
                </a:cubicBezTo>
                <a:cubicBezTo>
                  <a:pt x="36" y="231"/>
                  <a:pt x="36" y="231"/>
                  <a:pt x="36" y="231"/>
                </a:cubicBezTo>
                <a:cubicBezTo>
                  <a:pt x="36" y="267"/>
                  <a:pt x="36" y="267"/>
                  <a:pt x="36" y="267"/>
                </a:cubicBezTo>
                <a:cubicBezTo>
                  <a:pt x="38" y="269"/>
                  <a:pt x="40" y="271"/>
                  <a:pt x="42" y="273"/>
                </a:cubicBezTo>
                <a:cubicBezTo>
                  <a:pt x="43" y="274"/>
                  <a:pt x="44" y="274"/>
                  <a:pt x="45" y="275"/>
                </a:cubicBezTo>
                <a:cubicBezTo>
                  <a:pt x="45" y="231"/>
                  <a:pt x="45" y="231"/>
                  <a:pt x="45" y="231"/>
                </a:cubicBezTo>
                <a:cubicBezTo>
                  <a:pt x="45" y="226"/>
                  <a:pt x="41" y="222"/>
                  <a:pt x="36" y="222"/>
                </a:cubicBezTo>
                <a:close/>
                <a:moveTo>
                  <a:pt x="103" y="0"/>
                </a:moveTo>
                <a:cubicBezTo>
                  <a:pt x="75" y="0"/>
                  <a:pt x="75" y="0"/>
                  <a:pt x="75" y="0"/>
                </a:cubicBezTo>
                <a:cubicBezTo>
                  <a:pt x="70" y="0"/>
                  <a:pt x="66" y="4"/>
                  <a:pt x="66" y="9"/>
                </a:cubicBezTo>
                <a:cubicBezTo>
                  <a:pt x="66" y="63"/>
                  <a:pt x="66" y="63"/>
                  <a:pt x="66" y="63"/>
                </a:cubicBezTo>
                <a:cubicBezTo>
                  <a:pt x="66" y="68"/>
                  <a:pt x="70" y="72"/>
                  <a:pt x="75" y="72"/>
                </a:cubicBezTo>
                <a:cubicBezTo>
                  <a:pt x="103" y="72"/>
                  <a:pt x="103" y="72"/>
                  <a:pt x="103" y="72"/>
                </a:cubicBezTo>
                <a:cubicBezTo>
                  <a:pt x="108" y="72"/>
                  <a:pt x="112" y="68"/>
                  <a:pt x="112" y="63"/>
                </a:cubicBezTo>
                <a:cubicBezTo>
                  <a:pt x="112" y="9"/>
                  <a:pt x="112" y="9"/>
                  <a:pt x="112" y="9"/>
                </a:cubicBezTo>
                <a:cubicBezTo>
                  <a:pt x="112" y="4"/>
                  <a:pt x="108" y="0"/>
                  <a:pt x="103" y="0"/>
                </a:cubicBezTo>
                <a:close/>
                <a:moveTo>
                  <a:pt x="103" y="63"/>
                </a:moveTo>
                <a:cubicBezTo>
                  <a:pt x="75" y="63"/>
                  <a:pt x="75" y="63"/>
                  <a:pt x="75" y="63"/>
                </a:cubicBezTo>
                <a:cubicBezTo>
                  <a:pt x="75" y="9"/>
                  <a:pt x="75" y="9"/>
                  <a:pt x="75" y="9"/>
                </a:cubicBezTo>
                <a:cubicBezTo>
                  <a:pt x="103" y="9"/>
                  <a:pt x="103" y="9"/>
                  <a:pt x="103" y="9"/>
                </a:cubicBezTo>
                <a:lnTo>
                  <a:pt x="103" y="63"/>
                </a:lnTo>
                <a:close/>
                <a:moveTo>
                  <a:pt x="107" y="150"/>
                </a:moveTo>
                <a:cubicBezTo>
                  <a:pt x="107" y="150"/>
                  <a:pt x="107" y="150"/>
                  <a:pt x="107" y="150"/>
                </a:cubicBezTo>
                <a:cubicBezTo>
                  <a:pt x="104" y="150"/>
                  <a:pt x="103" y="152"/>
                  <a:pt x="103" y="155"/>
                </a:cubicBezTo>
                <a:cubicBezTo>
                  <a:pt x="103" y="174"/>
                  <a:pt x="103" y="174"/>
                  <a:pt x="103" y="174"/>
                </a:cubicBezTo>
                <a:cubicBezTo>
                  <a:pt x="94" y="174"/>
                  <a:pt x="94" y="174"/>
                  <a:pt x="94" y="174"/>
                </a:cubicBezTo>
                <a:cubicBezTo>
                  <a:pt x="94" y="111"/>
                  <a:pt x="94" y="111"/>
                  <a:pt x="94" y="111"/>
                </a:cubicBezTo>
                <a:cubicBezTo>
                  <a:pt x="71" y="111"/>
                  <a:pt x="71" y="111"/>
                  <a:pt x="71" y="111"/>
                </a:cubicBezTo>
                <a:cubicBezTo>
                  <a:pt x="68" y="111"/>
                  <a:pt x="66" y="112"/>
                  <a:pt x="66" y="115"/>
                </a:cubicBezTo>
                <a:cubicBezTo>
                  <a:pt x="66" y="119"/>
                  <a:pt x="68" y="120"/>
                  <a:pt x="71" y="120"/>
                </a:cubicBezTo>
                <a:cubicBezTo>
                  <a:pt x="84" y="120"/>
                  <a:pt x="84" y="120"/>
                  <a:pt x="84" y="120"/>
                </a:cubicBezTo>
                <a:cubicBezTo>
                  <a:pt x="84" y="174"/>
                  <a:pt x="84" y="174"/>
                  <a:pt x="84" y="174"/>
                </a:cubicBezTo>
                <a:cubicBezTo>
                  <a:pt x="71" y="174"/>
                  <a:pt x="71" y="174"/>
                  <a:pt x="71" y="174"/>
                </a:cubicBezTo>
                <a:cubicBezTo>
                  <a:pt x="68" y="174"/>
                  <a:pt x="66" y="175"/>
                  <a:pt x="66" y="178"/>
                </a:cubicBezTo>
                <a:cubicBezTo>
                  <a:pt x="66" y="181"/>
                  <a:pt x="68" y="183"/>
                  <a:pt x="71" y="183"/>
                </a:cubicBezTo>
                <a:cubicBezTo>
                  <a:pt x="107" y="183"/>
                  <a:pt x="107" y="183"/>
                  <a:pt x="107" y="183"/>
                </a:cubicBezTo>
                <a:cubicBezTo>
                  <a:pt x="110" y="183"/>
                  <a:pt x="112" y="181"/>
                  <a:pt x="112" y="178"/>
                </a:cubicBezTo>
                <a:cubicBezTo>
                  <a:pt x="112" y="172"/>
                  <a:pt x="112" y="172"/>
                  <a:pt x="112" y="172"/>
                </a:cubicBezTo>
                <a:cubicBezTo>
                  <a:pt x="110" y="165"/>
                  <a:pt x="108" y="158"/>
                  <a:pt x="107" y="150"/>
                </a:cubicBezTo>
                <a:close/>
                <a:moveTo>
                  <a:pt x="103" y="222"/>
                </a:moveTo>
                <a:cubicBezTo>
                  <a:pt x="75" y="222"/>
                  <a:pt x="75" y="222"/>
                  <a:pt x="75" y="222"/>
                </a:cubicBezTo>
                <a:cubicBezTo>
                  <a:pt x="70" y="222"/>
                  <a:pt x="66" y="226"/>
                  <a:pt x="66" y="231"/>
                </a:cubicBezTo>
                <a:cubicBezTo>
                  <a:pt x="66" y="284"/>
                  <a:pt x="66" y="284"/>
                  <a:pt x="66" y="284"/>
                </a:cubicBezTo>
                <a:cubicBezTo>
                  <a:pt x="66" y="289"/>
                  <a:pt x="70" y="294"/>
                  <a:pt x="75" y="294"/>
                </a:cubicBezTo>
                <a:cubicBezTo>
                  <a:pt x="103" y="294"/>
                  <a:pt x="103" y="294"/>
                  <a:pt x="103" y="294"/>
                </a:cubicBezTo>
                <a:cubicBezTo>
                  <a:pt x="108" y="294"/>
                  <a:pt x="112" y="289"/>
                  <a:pt x="112" y="284"/>
                </a:cubicBezTo>
                <a:cubicBezTo>
                  <a:pt x="112" y="231"/>
                  <a:pt x="112" y="231"/>
                  <a:pt x="112" y="231"/>
                </a:cubicBezTo>
                <a:cubicBezTo>
                  <a:pt x="112" y="226"/>
                  <a:pt x="108" y="222"/>
                  <a:pt x="103" y="222"/>
                </a:cubicBezTo>
                <a:close/>
                <a:moveTo>
                  <a:pt x="103" y="284"/>
                </a:moveTo>
                <a:cubicBezTo>
                  <a:pt x="75" y="284"/>
                  <a:pt x="75" y="284"/>
                  <a:pt x="75" y="284"/>
                </a:cubicBezTo>
                <a:cubicBezTo>
                  <a:pt x="75" y="231"/>
                  <a:pt x="75" y="231"/>
                  <a:pt x="75" y="231"/>
                </a:cubicBezTo>
                <a:cubicBezTo>
                  <a:pt x="103" y="231"/>
                  <a:pt x="103" y="231"/>
                  <a:pt x="103" y="231"/>
                </a:cubicBezTo>
                <a:lnTo>
                  <a:pt x="103" y="284"/>
                </a:lnTo>
                <a:close/>
                <a:moveTo>
                  <a:pt x="133" y="224"/>
                </a:moveTo>
                <a:cubicBezTo>
                  <a:pt x="133" y="224"/>
                  <a:pt x="133" y="225"/>
                  <a:pt x="133" y="226"/>
                </a:cubicBezTo>
                <a:cubicBezTo>
                  <a:pt x="133" y="230"/>
                  <a:pt x="135" y="231"/>
                  <a:pt x="137" y="231"/>
                </a:cubicBezTo>
                <a:cubicBezTo>
                  <a:pt x="138" y="231"/>
                  <a:pt x="138" y="231"/>
                  <a:pt x="138" y="231"/>
                </a:cubicBezTo>
                <a:cubicBezTo>
                  <a:pt x="136" y="229"/>
                  <a:pt x="135" y="226"/>
                  <a:pt x="133" y="224"/>
                </a:cubicBezTo>
                <a:close/>
                <a:moveTo>
                  <a:pt x="169" y="269"/>
                </a:moveTo>
                <a:cubicBezTo>
                  <a:pt x="169" y="284"/>
                  <a:pt x="169" y="284"/>
                  <a:pt x="169" y="284"/>
                </a:cubicBezTo>
                <a:cubicBezTo>
                  <a:pt x="160" y="284"/>
                  <a:pt x="160" y="284"/>
                  <a:pt x="160" y="284"/>
                </a:cubicBezTo>
                <a:cubicBezTo>
                  <a:pt x="160" y="260"/>
                  <a:pt x="160" y="260"/>
                  <a:pt x="160" y="260"/>
                </a:cubicBezTo>
                <a:cubicBezTo>
                  <a:pt x="157" y="256"/>
                  <a:pt x="154" y="253"/>
                  <a:pt x="151" y="249"/>
                </a:cubicBezTo>
                <a:cubicBezTo>
                  <a:pt x="151" y="284"/>
                  <a:pt x="151" y="284"/>
                  <a:pt x="151" y="284"/>
                </a:cubicBezTo>
                <a:cubicBezTo>
                  <a:pt x="137" y="284"/>
                  <a:pt x="137" y="284"/>
                  <a:pt x="137" y="284"/>
                </a:cubicBezTo>
                <a:cubicBezTo>
                  <a:pt x="135" y="284"/>
                  <a:pt x="133" y="286"/>
                  <a:pt x="133" y="289"/>
                </a:cubicBezTo>
                <a:cubicBezTo>
                  <a:pt x="133" y="292"/>
                  <a:pt x="135" y="294"/>
                  <a:pt x="137" y="294"/>
                </a:cubicBezTo>
                <a:cubicBezTo>
                  <a:pt x="174" y="294"/>
                  <a:pt x="174" y="294"/>
                  <a:pt x="174" y="294"/>
                </a:cubicBezTo>
                <a:cubicBezTo>
                  <a:pt x="176" y="294"/>
                  <a:pt x="178" y="292"/>
                  <a:pt x="178" y="289"/>
                </a:cubicBezTo>
                <a:cubicBezTo>
                  <a:pt x="178" y="277"/>
                  <a:pt x="178" y="277"/>
                  <a:pt x="178" y="277"/>
                </a:cubicBezTo>
                <a:cubicBezTo>
                  <a:pt x="175" y="274"/>
                  <a:pt x="172" y="272"/>
                  <a:pt x="169" y="269"/>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90" name="Freeform 153"/>
          <p:cNvSpPr>
            <a:spLocks/>
          </p:cNvSpPr>
          <p:nvPr userDrawn="1"/>
        </p:nvSpPr>
        <p:spPr bwMode="auto">
          <a:xfrm>
            <a:off x="11040344" y="4169901"/>
            <a:ext cx="71589" cy="71600"/>
          </a:xfrm>
          <a:custGeom>
            <a:avLst/>
            <a:gdLst>
              <a:gd name="T0" fmla="*/ 40 w 41"/>
              <a:gd name="T1" fmla="*/ 23 h 41"/>
              <a:gd name="T2" fmla="*/ 19 w 41"/>
              <a:gd name="T3" fmla="*/ 40 h 41"/>
              <a:gd name="T4" fmla="*/ 2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9" y="40"/>
                </a:cubicBezTo>
                <a:cubicBezTo>
                  <a:pt x="8" y="39"/>
                  <a:pt x="0" y="29"/>
                  <a:pt x="2" y="18"/>
                </a:cubicBezTo>
                <a:cubicBezTo>
                  <a:pt x="3" y="8"/>
                  <a:pt x="12" y="0"/>
                  <a:pt x="23" y="1"/>
                </a:cubicBezTo>
                <a:cubicBezTo>
                  <a:pt x="34"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91" name="Freeform 154"/>
          <p:cNvSpPr>
            <a:spLocks/>
          </p:cNvSpPr>
          <p:nvPr userDrawn="1"/>
        </p:nvSpPr>
        <p:spPr bwMode="auto">
          <a:xfrm>
            <a:off x="11034119" y="4238387"/>
            <a:ext cx="71589" cy="68487"/>
          </a:xfrm>
          <a:custGeom>
            <a:avLst/>
            <a:gdLst>
              <a:gd name="T0" fmla="*/ 40 w 41"/>
              <a:gd name="T1" fmla="*/ 22 h 40"/>
              <a:gd name="T2" fmla="*/ 19 w 41"/>
              <a:gd name="T3" fmla="*/ 39 h 40"/>
              <a:gd name="T4" fmla="*/ 1 w 41"/>
              <a:gd name="T5" fmla="*/ 18 h 40"/>
              <a:gd name="T6" fmla="*/ 23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9" y="33"/>
                  <a:pt x="29" y="40"/>
                  <a:pt x="19" y="39"/>
                </a:cubicBezTo>
                <a:cubicBezTo>
                  <a:pt x="8" y="38"/>
                  <a:pt x="0" y="29"/>
                  <a:pt x="1" y="18"/>
                </a:cubicBezTo>
                <a:cubicBezTo>
                  <a:pt x="3" y="7"/>
                  <a:pt x="12" y="0"/>
                  <a:pt x="23"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92" name="Freeform 155"/>
          <p:cNvSpPr>
            <a:spLocks/>
          </p:cNvSpPr>
          <p:nvPr userDrawn="1"/>
        </p:nvSpPr>
        <p:spPr bwMode="auto">
          <a:xfrm>
            <a:off x="11027893" y="4303761"/>
            <a:ext cx="70034" cy="70044"/>
          </a:xfrm>
          <a:custGeom>
            <a:avLst/>
            <a:gdLst>
              <a:gd name="T0" fmla="*/ 40 w 41"/>
              <a:gd name="T1" fmla="*/ 23 h 41"/>
              <a:gd name="T2" fmla="*/ 18 w 41"/>
              <a:gd name="T3" fmla="*/ 40 h 41"/>
              <a:gd name="T4" fmla="*/ 1 w 41"/>
              <a:gd name="T5" fmla="*/ 18 h 41"/>
              <a:gd name="T6" fmla="*/ 23 w 41"/>
              <a:gd name="T7" fmla="*/ 1 h 41"/>
              <a:gd name="T8" fmla="*/ 40 w 41"/>
              <a:gd name="T9" fmla="*/ 23 h 41"/>
            </a:gdLst>
            <a:ahLst/>
            <a:cxnLst>
              <a:cxn ang="0">
                <a:pos x="T0" y="T1"/>
              </a:cxn>
              <a:cxn ang="0">
                <a:pos x="T2" y="T3"/>
              </a:cxn>
              <a:cxn ang="0">
                <a:pos x="T4" y="T5"/>
              </a:cxn>
              <a:cxn ang="0">
                <a:pos x="T6" y="T7"/>
              </a:cxn>
              <a:cxn ang="0">
                <a:pos x="T8" y="T9"/>
              </a:cxn>
            </a:cxnLst>
            <a:rect l="0" t="0" r="r" b="b"/>
            <a:pathLst>
              <a:path w="41" h="41">
                <a:moveTo>
                  <a:pt x="40" y="23"/>
                </a:moveTo>
                <a:cubicBezTo>
                  <a:pt x="39" y="33"/>
                  <a:pt x="29" y="41"/>
                  <a:pt x="18" y="40"/>
                </a:cubicBezTo>
                <a:cubicBezTo>
                  <a:pt x="8" y="39"/>
                  <a:pt x="0" y="29"/>
                  <a:pt x="1" y="18"/>
                </a:cubicBezTo>
                <a:cubicBezTo>
                  <a:pt x="2" y="8"/>
                  <a:pt x="12" y="0"/>
                  <a:pt x="23" y="1"/>
                </a:cubicBezTo>
                <a:cubicBezTo>
                  <a:pt x="33" y="2"/>
                  <a:pt x="41" y="12"/>
                  <a:pt x="40"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93" name="Freeform 156"/>
          <p:cNvSpPr>
            <a:spLocks/>
          </p:cNvSpPr>
          <p:nvPr userDrawn="1"/>
        </p:nvSpPr>
        <p:spPr bwMode="auto">
          <a:xfrm>
            <a:off x="11020112" y="4370691"/>
            <a:ext cx="71589" cy="68487"/>
          </a:xfrm>
          <a:custGeom>
            <a:avLst/>
            <a:gdLst>
              <a:gd name="T0" fmla="*/ 40 w 41"/>
              <a:gd name="T1" fmla="*/ 22 h 40"/>
              <a:gd name="T2" fmla="*/ 18 w 41"/>
              <a:gd name="T3" fmla="*/ 39 h 40"/>
              <a:gd name="T4" fmla="*/ 1 w 41"/>
              <a:gd name="T5" fmla="*/ 18 h 40"/>
              <a:gd name="T6" fmla="*/ 22 w 41"/>
              <a:gd name="T7" fmla="*/ 1 h 40"/>
              <a:gd name="T8" fmla="*/ 40 w 41"/>
              <a:gd name="T9" fmla="*/ 22 h 40"/>
            </a:gdLst>
            <a:ahLst/>
            <a:cxnLst>
              <a:cxn ang="0">
                <a:pos x="T0" y="T1"/>
              </a:cxn>
              <a:cxn ang="0">
                <a:pos x="T2" y="T3"/>
              </a:cxn>
              <a:cxn ang="0">
                <a:pos x="T4" y="T5"/>
              </a:cxn>
              <a:cxn ang="0">
                <a:pos x="T6" y="T7"/>
              </a:cxn>
              <a:cxn ang="0">
                <a:pos x="T8" y="T9"/>
              </a:cxn>
            </a:cxnLst>
            <a:rect l="0" t="0" r="r" b="b"/>
            <a:pathLst>
              <a:path w="41" h="40">
                <a:moveTo>
                  <a:pt x="40" y="22"/>
                </a:moveTo>
                <a:cubicBezTo>
                  <a:pt x="38" y="33"/>
                  <a:pt x="29" y="40"/>
                  <a:pt x="18" y="39"/>
                </a:cubicBezTo>
                <a:cubicBezTo>
                  <a:pt x="8" y="38"/>
                  <a:pt x="0" y="29"/>
                  <a:pt x="1" y="18"/>
                </a:cubicBezTo>
                <a:cubicBezTo>
                  <a:pt x="2" y="7"/>
                  <a:pt x="12" y="0"/>
                  <a:pt x="22" y="1"/>
                </a:cubicBezTo>
                <a:cubicBezTo>
                  <a:pt x="33" y="2"/>
                  <a:pt x="41" y="11"/>
                  <a:pt x="40"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94" name="Freeform 157"/>
          <p:cNvSpPr>
            <a:spLocks/>
          </p:cNvSpPr>
          <p:nvPr userDrawn="1"/>
        </p:nvSpPr>
        <p:spPr bwMode="auto">
          <a:xfrm>
            <a:off x="11013885" y="4436065"/>
            <a:ext cx="70034" cy="71600"/>
          </a:xfrm>
          <a:custGeom>
            <a:avLst/>
            <a:gdLst>
              <a:gd name="T0" fmla="*/ 39 w 41"/>
              <a:gd name="T1" fmla="*/ 23 h 41"/>
              <a:gd name="T2" fmla="*/ 18 w 41"/>
              <a:gd name="T3" fmla="*/ 40 h 41"/>
              <a:gd name="T4" fmla="*/ 1 w 41"/>
              <a:gd name="T5" fmla="*/ 18 h 41"/>
              <a:gd name="T6" fmla="*/ 22 w 41"/>
              <a:gd name="T7" fmla="*/ 1 h 41"/>
              <a:gd name="T8" fmla="*/ 39 w 41"/>
              <a:gd name="T9" fmla="*/ 23 h 41"/>
            </a:gdLst>
            <a:ahLst/>
            <a:cxnLst>
              <a:cxn ang="0">
                <a:pos x="T0" y="T1"/>
              </a:cxn>
              <a:cxn ang="0">
                <a:pos x="T2" y="T3"/>
              </a:cxn>
              <a:cxn ang="0">
                <a:pos x="T4" y="T5"/>
              </a:cxn>
              <a:cxn ang="0">
                <a:pos x="T6" y="T7"/>
              </a:cxn>
              <a:cxn ang="0">
                <a:pos x="T8" y="T9"/>
              </a:cxn>
            </a:cxnLst>
            <a:rect l="0" t="0" r="r" b="b"/>
            <a:pathLst>
              <a:path w="41" h="41">
                <a:moveTo>
                  <a:pt x="39" y="23"/>
                </a:moveTo>
                <a:cubicBezTo>
                  <a:pt x="38" y="33"/>
                  <a:pt x="29" y="41"/>
                  <a:pt x="18" y="40"/>
                </a:cubicBezTo>
                <a:cubicBezTo>
                  <a:pt x="7" y="39"/>
                  <a:pt x="0" y="29"/>
                  <a:pt x="1" y="18"/>
                </a:cubicBezTo>
                <a:cubicBezTo>
                  <a:pt x="2" y="8"/>
                  <a:pt x="12" y="0"/>
                  <a:pt x="22" y="1"/>
                </a:cubicBezTo>
                <a:cubicBezTo>
                  <a:pt x="33" y="2"/>
                  <a:pt x="41" y="12"/>
                  <a:pt x="39" y="2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95" name="Freeform 158"/>
          <p:cNvSpPr>
            <a:spLocks/>
          </p:cNvSpPr>
          <p:nvPr userDrawn="1"/>
        </p:nvSpPr>
        <p:spPr bwMode="auto">
          <a:xfrm>
            <a:off x="11006105" y="4504551"/>
            <a:ext cx="70034" cy="68487"/>
          </a:xfrm>
          <a:custGeom>
            <a:avLst/>
            <a:gdLst>
              <a:gd name="T0" fmla="*/ 39 w 40"/>
              <a:gd name="T1" fmla="*/ 22 h 40"/>
              <a:gd name="T2" fmla="*/ 18 w 40"/>
              <a:gd name="T3" fmla="*/ 39 h 40"/>
              <a:gd name="T4" fmla="*/ 1 w 40"/>
              <a:gd name="T5" fmla="*/ 18 h 40"/>
              <a:gd name="T6" fmla="*/ 22 w 40"/>
              <a:gd name="T7" fmla="*/ 1 h 40"/>
              <a:gd name="T8" fmla="*/ 39 w 40"/>
              <a:gd name="T9" fmla="*/ 22 h 40"/>
            </a:gdLst>
            <a:ahLst/>
            <a:cxnLst>
              <a:cxn ang="0">
                <a:pos x="T0" y="T1"/>
              </a:cxn>
              <a:cxn ang="0">
                <a:pos x="T2" y="T3"/>
              </a:cxn>
              <a:cxn ang="0">
                <a:pos x="T4" y="T5"/>
              </a:cxn>
              <a:cxn ang="0">
                <a:pos x="T6" y="T7"/>
              </a:cxn>
              <a:cxn ang="0">
                <a:pos x="T8" y="T9"/>
              </a:cxn>
            </a:cxnLst>
            <a:rect l="0" t="0" r="r" b="b"/>
            <a:pathLst>
              <a:path w="40" h="40">
                <a:moveTo>
                  <a:pt x="39" y="22"/>
                </a:moveTo>
                <a:cubicBezTo>
                  <a:pt x="38" y="33"/>
                  <a:pt x="29" y="40"/>
                  <a:pt x="18" y="39"/>
                </a:cubicBezTo>
                <a:cubicBezTo>
                  <a:pt x="7" y="38"/>
                  <a:pt x="0" y="29"/>
                  <a:pt x="1" y="18"/>
                </a:cubicBezTo>
                <a:cubicBezTo>
                  <a:pt x="2" y="7"/>
                  <a:pt x="11" y="0"/>
                  <a:pt x="22" y="1"/>
                </a:cubicBezTo>
                <a:cubicBezTo>
                  <a:pt x="33" y="2"/>
                  <a:pt x="40" y="11"/>
                  <a:pt x="39" y="22"/>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96" name="Freeform 159"/>
          <p:cNvSpPr>
            <a:spLocks/>
          </p:cNvSpPr>
          <p:nvPr userDrawn="1"/>
        </p:nvSpPr>
        <p:spPr bwMode="auto">
          <a:xfrm>
            <a:off x="8035141" y="4395596"/>
            <a:ext cx="624074" cy="252155"/>
          </a:xfrm>
          <a:custGeom>
            <a:avLst/>
            <a:gdLst>
              <a:gd name="T0" fmla="*/ 39 w 360"/>
              <a:gd name="T1" fmla="*/ 142 h 146"/>
              <a:gd name="T2" fmla="*/ 360 w 360"/>
              <a:gd name="T3" fmla="*/ 55 h 146"/>
              <a:gd name="T4" fmla="*/ 345 w 360"/>
              <a:gd name="T5" fmla="*/ 0 h 146"/>
              <a:gd name="T6" fmla="*/ 25 w 360"/>
              <a:gd name="T7" fmla="*/ 87 h 146"/>
              <a:gd name="T8" fmla="*/ 4 w 360"/>
              <a:gd name="T9" fmla="*/ 121 h 146"/>
              <a:gd name="T10" fmla="*/ 39 w 360"/>
              <a:gd name="T11" fmla="*/ 142 h 146"/>
            </a:gdLst>
            <a:ahLst/>
            <a:cxnLst>
              <a:cxn ang="0">
                <a:pos x="T0" y="T1"/>
              </a:cxn>
              <a:cxn ang="0">
                <a:pos x="T2" y="T3"/>
              </a:cxn>
              <a:cxn ang="0">
                <a:pos x="T4" y="T5"/>
              </a:cxn>
              <a:cxn ang="0">
                <a:pos x="T6" y="T7"/>
              </a:cxn>
              <a:cxn ang="0">
                <a:pos x="T8" y="T9"/>
              </a:cxn>
              <a:cxn ang="0">
                <a:pos x="T10" y="T11"/>
              </a:cxn>
            </a:cxnLst>
            <a:rect l="0" t="0" r="r" b="b"/>
            <a:pathLst>
              <a:path w="360" h="146">
                <a:moveTo>
                  <a:pt x="39" y="142"/>
                </a:moveTo>
                <a:cubicBezTo>
                  <a:pt x="360" y="55"/>
                  <a:pt x="360" y="55"/>
                  <a:pt x="360" y="55"/>
                </a:cubicBezTo>
                <a:cubicBezTo>
                  <a:pt x="345" y="0"/>
                  <a:pt x="345" y="0"/>
                  <a:pt x="345" y="0"/>
                </a:cubicBezTo>
                <a:cubicBezTo>
                  <a:pt x="25" y="87"/>
                  <a:pt x="25" y="87"/>
                  <a:pt x="25" y="87"/>
                </a:cubicBezTo>
                <a:cubicBezTo>
                  <a:pt x="9" y="91"/>
                  <a:pt x="0" y="106"/>
                  <a:pt x="4" y="121"/>
                </a:cubicBezTo>
                <a:cubicBezTo>
                  <a:pt x="9" y="137"/>
                  <a:pt x="24" y="146"/>
                  <a:pt x="39" y="142"/>
                </a:cubicBezTo>
              </a:path>
            </a:pathLst>
          </a:custGeom>
          <a:solidFill>
            <a:srgbClr val="107C1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97" name="Freeform 160"/>
          <p:cNvSpPr>
            <a:spLocks/>
          </p:cNvSpPr>
          <p:nvPr userDrawn="1"/>
        </p:nvSpPr>
        <p:spPr bwMode="auto">
          <a:xfrm>
            <a:off x="8067823" y="4531013"/>
            <a:ext cx="87152" cy="110513"/>
          </a:xfrm>
          <a:custGeom>
            <a:avLst/>
            <a:gdLst>
              <a:gd name="T0" fmla="*/ 33 w 50"/>
              <a:gd name="T1" fmla="*/ 0 h 64"/>
              <a:gd name="T2" fmla="*/ 6 w 50"/>
              <a:gd name="T3" fmla="*/ 8 h 64"/>
              <a:gd name="T4" fmla="*/ 3 w 50"/>
              <a:gd name="T5" fmla="*/ 8 h 64"/>
              <a:gd name="T6" fmla="*/ 3 w 50"/>
              <a:gd name="T7" fmla="*/ 8 h 64"/>
              <a:gd name="T8" fmla="*/ 0 w 50"/>
              <a:gd name="T9" fmla="*/ 10 h 64"/>
              <a:gd name="T10" fmla="*/ 10 w 50"/>
              <a:gd name="T11" fmla="*/ 63 h 64"/>
              <a:gd name="T12" fmla="*/ 15 w 50"/>
              <a:gd name="T13" fmla="*/ 64 h 64"/>
              <a:gd name="T14" fmla="*/ 16 w 50"/>
              <a:gd name="T15" fmla="*/ 63 h 64"/>
              <a:gd name="T16" fmla="*/ 18 w 50"/>
              <a:gd name="T17" fmla="*/ 63 h 64"/>
              <a:gd name="T18" fmla="*/ 20 w 50"/>
              <a:gd name="T19" fmla="*/ 63 h 64"/>
              <a:gd name="T20" fmla="*/ 50 w 50"/>
              <a:gd name="T21" fmla="*/ 55 h 64"/>
              <a:gd name="T22" fmla="*/ 33 w 50"/>
              <a:gd name="T2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64">
                <a:moveTo>
                  <a:pt x="33" y="0"/>
                </a:moveTo>
                <a:cubicBezTo>
                  <a:pt x="6" y="8"/>
                  <a:pt x="6" y="8"/>
                  <a:pt x="6" y="8"/>
                </a:cubicBezTo>
                <a:cubicBezTo>
                  <a:pt x="5" y="8"/>
                  <a:pt x="4" y="8"/>
                  <a:pt x="3" y="8"/>
                </a:cubicBezTo>
                <a:cubicBezTo>
                  <a:pt x="3" y="8"/>
                  <a:pt x="3" y="8"/>
                  <a:pt x="3" y="8"/>
                </a:cubicBezTo>
                <a:cubicBezTo>
                  <a:pt x="2" y="9"/>
                  <a:pt x="1" y="9"/>
                  <a:pt x="0" y="10"/>
                </a:cubicBezTo>
                <a:cubicBezTo>
                  <a:pt x="10" y="63"/>
                  <a:pt x="10" y="63"/>
                  <a:pt x="10" y="63"/>
                </a:cubicBezTo>
                <a:cubicBezTo>
                  <a:pt x="12" y="64"/>
                  <a:pt x="13" y="64"/>
                  <a:pt x="15" y="64"/>
                </a:cubicBezTo>
                <a:cubicBezTo>
                  <a:pt x="16" y="63"/>
                  <a:pt x="16" y="63"/>
                  <a:pt x="16" y="63"/>
                </a:cubicBezTo>
                <a:cubicBezTo>
                  <a:pt x="16" y="63"/>
                  <a:pt x="17" y="63"/>
                  <a:pt x="18" y="63"/>
                </a:cubicBezTo>
                <a:cubicBezTo>
                  <a:pt x="19" y="63"/>
                  <a:pt x="19" y="63"/>
                  <a:pt x="20" y="63"/>
                </a:cubicBezTo>
                <a:cubicBezTo>
                  <a:pt x="50" y="55"/>
                  <a:pt x="50" y="55"/>
                  <a:pt x="50" y="55"/>
                </a:cubicBezTo>
                <a:lnTo>
                  <a:pt x="33" y="0"/>
                </a:lnTo>
                <a:close/>
              </a:path>
            </a:pathLst>
          </a:custGeom>
          <a:solidFill>
            <a:srgbClr val="0D52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98" name="Freeform 161"/>
          <p:cNvSpPr>
            <a:spLocks/>
          </p:cNvSpPr>
          <p:nvPr userDrawn="1"/>
        </p:nvSpPr>
        <p:spPr bwMode="auto">
          <a:xfrm>
            <a:off x="8086498" y="4286639"/>
            <a:ext cx="533809" cy="923013"/>
          </a:xfrm>
          <a:custGeom>
            <a:avLst/>
            <a:gdLst>
              <a:gd name="T0" fmla="*/ 238 w 307"/>
              <a:gd name="T1" fmla="*/ 303 h 535"/>
              <a:gd name="T2" fmla="*/ 278 w 307"/>
              <a:gd name="T3" fmla="*/ 206 h 535"/>
              <a:gd name="T4" fmla="*/ 281 w 307"/>
              <a:gd name="T5" fmla="*/ 159 h 535"/>
              <a:gd name="T6" fmla="*/ 244 w 307"/>
              <a:gd name="T7" fmla="*/ 27 h 535"/>
              <a:gd name="T8" fmla="*/ 243 w 307"/>
              <a:gd name="T9" fmla="*/ 27 h 535"/>
              <a:gd name="T10" fmla="*/ 206 w 307"/>
              <a:gd name="T11" fmla="*/ 3 h 535"/>
              <a:gd name="T12" fmla="*/ 177 w 307"/>
              <a:gd name="T13" fmla="*/ 41 h 535"/>
              <a:gd name="T14" fmla="*/ 178 w 307"/>
              <a:gd name="T15" fmla="*/ 43 h 535"/>
              <a:gd name="T16" fmla="*/ 178 w 307"/>
              <a:gd name="T17" fmla="*/ 43 h 535"/>
              <a:gd name="T18" fmla="*/ 142 w 307"/>
              <a:gd name="T19" fmla="*/ 23 h 535"/>
              <a:gd name="T20" fmla="*/ 113 w 307"/>
              <a:gd name="T21" fmla="*/ 59 h 535"/>
              <a:gd name="T22" fmla="*/ 78 w 307"/>
              <a:gd name="T23" fmla="*/ 41 h 535"/>
              <a:gd name="T24" fmla="*/ 49 w 307"/>
              <a:gd name="T25" fmla="*/ 80 h 535"/>
              <a:gd name="T26" fmla="*/ 55 w 307"/>
              <a:gd name="T27" fmla="*/ 95 h 535"/>
              <a:gd name="T28" fmla="*/ 32 w 307"/>
              <a:gd name="T29" fmla="*/ 90 h 535"/>
              <a:gd name="T30" fmla="*/ 3 w 307"/>
              <a:gd name="T31" fmla="*/ 128 h 535"/>
              <a:gd name="T32" fmla="*/ 3 w 307"/>
              <a:gd name="T33" fmla="*/ 129 h 535"/>
              <a:gd name="T34" fmla="*/ 3 w 307"/>
              <a:gd name="T35" fmla="*/ 129 h 535"/>
              <a:gd name="T36" fmla="*/ 46 w 307"/>
              <a:gd name="T37" fmla="*/ 364 h 535"/>
              <a:gd name="T38" fmla="*/ 94 w 307"/>
              <a:gd name="T39" fmla="*/ 535 h 535"/>
              <a:gd name="T40" fmla="*/ 307 w 307"/>
              <a:gd name="T41" fmla="*/ 528 h 535"/>
              <a:gd name="T42" fmla="*/ 238 w 307"/>
              <a:gd name="T43" fmla="*/ 303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7" h="535">
                <a:moveTo>
                  <a:pt x="238" y="303"/>
                </a:moveTo>
                <a:cubicBezTo>
                  <a:pt x="278" y="206"/>
                  <a:pt x="278" y="206"/>
                  <a:pt x="278" y="206"/>
                </a:cubicBezTo>
                <a:cubicBezTo>
                  <a:pt x="285" y="192"/>
                  <a:pt x="286" y="175"/>
                  <a:pt x="281" y="159"/>
                </a:cubicBezTo>
                <a:cubicBezTo>
                  <a:pt x="244" y="27"/>
                  <a:pt x="244" y="27"/>
                  <a:pt x="244" y="27"/>
                </a:cubicBezTo>
                <a:cubicBezTo>
                  <a:pt x="243" y="27"/>
                  <a:pt x="243" y="27"/>
                  <a:pt x="243" y="27"/>
                </a:cubicBezTo>
                <a:cubicBezTo>
                  <a:pt x="239" y="11"/>
                  <a:pt x="223" y="0"/>
                  <a:pt x="206" y="3"/>
                </a:cubicBezTo>
                <a:cubicBezTo>
                  <a:pt x="188" y="5"/>
                  <a:pt x="175" y="22"/>
                  <a:pt x="177" y="41"/>
                </a:cubicBezTo>
                <a:cubicBezTo>
                  <a:pt x="177" y="42"/>
                  <a:pt x="178" y="42"/>
                  <a:pt x="178" y="43"/>
                </a:cubicBezTo>
                <a:cubicBezTo>
                  <a:pt x="178" y="43"/>
                  <a:pt x="178" y="43"/>
                  <a:pt x="178" y="43"/>
                </a:cubicBezTo>
                <a:cubicBezTo>
                  <a:pt x="172" y="29"/>
                  <a:pt x="157" y="20"/>
                  <a:pt x="142" y="23"/>
                </a:cubicBezTo>
                <a:cubicBezTo>
                  <a:pt x="124" y="25"/>
                  <a:pt x="111" y="41"/>
                  <a:pt x="113" y="59"/>
                </a:cubicBezTo>
                <a:cubicBezTo>
                  <a:pt x="106" y="47"/>
                  <a:pt x="93" y="39"/>
                  <a:pt x="78" y="41"/>
                </a:cubicBezTo>
                <a:cubicBezTo>
                  <a:pt x="59" y="44"/>
                  <a:pt x="47" y="61"/>
                  <a:pt x="49" y="80"/>
                </a:cubicBezTo>
                <a:cubicBezTo>
                  <a:pt x="50" y="86"/>
                  <a:pt x="52" y="91"/>
                  <a:pt x="55" y="95"/>
                </a:cubicBezTo>
                <a:cubicBezTo>
                  <a:pt x="49" y="91"/>
                  <a:pt x="40" y="88"/>
                  <a:pt x="32" y="90"/>
                </a:cubicBezTo>
                <a:cubicBezTo>
                  <a:pt x="13" y="92"/>
                  <a:pt x="0" y="109"/>
                  <a:pt x="3" y="128"/>
                </a:cubicBezTo>
                <a:cubicBezTo>
                  <a:pt x="3" y="128"/>
                  <a:pt x="3" y="129"/>
                  <a:pt x="3" y="129"/>
                </a:cubicBezTo>
                <a:cubicBezTo>
                  <a:pt x="3" y="129"/>
                  <a:pt x="3" y="129"/>
                  <a:pt x="3" y="129"/>
                </a:cubicBezTo>
                <a:cubicBezTo>
                  <a:pt x="46" y="364"/>
                  <a:pt x="46" y="364"/>
                  <a:pt x="46" y="364"/>
                </a:cubicBezTo>
                <a:cubicBezTo>
                  <a:pt x="49" y="368"/>
                  <a:pt x="94" y="535"/>
                  <a:pt x="94" y="535"/>
                </a:cubicBezTo>
                <a:cubicBezTo>
                  <a:pt x="307" y="528"/>
                  <a:pt x="307" y="528"/>
                  <a:pt x="307" y="528"/>
                </a:cubicBezTo>
                <a:cubicBezTo>
                  <a:pt x="238" y="303"/>
                  <a:pt x="238" y="303"/>
                  <a:pt x="238" y="303"/>
                </a:cubicBezTo>
              </a:path>
            </a:pathLst>
          </a:custGeom>
          <a:solidFill>
            <a:srgbClr val="BB91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99" name="Freeform 162"/>
          <p:cNvSpPr>
            <a:spLocks/>
          </p:cNvSpPr>
          <p:nvPr userDrawn="1"/>
        </p:nvSpPr>
        <p:spPr bwMode="auto">
          <a:xfrm>
            <a:off x="8086498" y="4439178"/>
            <a:ext cx="284802" cy="793822"/>
          </a:xfrm>
          <a:custGeom>
            <a:avLst/>
            <a:gdLst>
              <a:gd name="T0" fmla="*/ 164 w 164"/>
              <a:gd name="T1" fmla="*/ 453 h 459"/>
              <a:gd name="T2" fmla="*/ 34 w 164"/>
              <a:gd name="T3" fmla="*/ 30 h 459"/>
              <a:gd name="T4" fmla="*/ 34 w 164"/>
              <a:gd name="T5" fmla="*/ 30 h 459"/>
              <a:gd name="T6" fmla="*/ 33 w 164"/>
              <a:gd name="T7" fmla="*/ 29 h 459"/>
              <a:gd name="T8" fmla="*/ 43 w 164"/>
              <a:gd name="T9" fmla="*/ 1 h 459"/>
              <a:gd name="T10" fmla="*/ 32 w 164"/>
              <a:gd name="T11" fmla="*/ 1 h 459"/>
              <a:gd name="T12" fmla="*/ 3 w 164"/>
              <a:gd name="T13" fmla="*/ 39 h 459"/>
              <a:gd name="T14" fmla="*/ 3 w 164"/>
              <a:gd name="T15" fmla="*/ 40 h 459"/>
              <a:gd name="T16" fmla="*/ 3 w 164"/>
              <a:gd name="T17" fmla="*/ 40 h 459"/>
              <a:gd name="T18" fmla="*/ 46 w 164"/>
              <a:gd name="T19" fmla="*/ 275 h 459"/>
              <a:gd name="T20" fmla="*/ 97 w 164"/>
              <a:gd name="T21" fmla="*/ 459 h 459"/>
              <a:gd name="T22" fmla="*/ 164 w 164"/>
              <a:gd name="T23" fmla="*/ 453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4" h="459">
                <a:moveTo>
                  <a:pt x="164" y="453"/>
                </a:moveTo>
                <a:cubicBezTo>
                  <a:pt x="34" y="30"/>
                  <a:pt x="34" y="30"/>
                  <a:pt x="34" y="30"/>
                </a:cubicBezTo>
                <a:cubicBezTo>
                  <a:pt x="34" y="30"/>
                  <a:pt x="34" y="30"/>
                  <a:pt x="34" y="30"/>
                </a:cubicBezTo>
                <a:cubicBezTo>
                  <a:pt x="34" y="30"/>
                  <a:pt x="34" y="30"/>
                  <a:pt x="33" y="29"/>
                </a:cubicBezTo>
                <a:cubicBezTo>
                  <a:pt x="32" y="18"/>
                  <a:pt x="36" y="8"/>
                  <a:pt x="43" y="1"/>
                </a:cubicBezTo>
                <a:cubicBezTo>
                  <a:pt x="39" y="0"/>
                  <a:pt x="35" y="0"/>
                  <a:pt x="32" y="1"/>
                </a:cubicBezTo>
                <a:cubicBezTo>
                  <a:pt x="13" y="3"/>
                  <a:pt x="0" y="20"/>
                  <a:pt x="3" y="39"/>
                </a:cubicBezTo>
                <a:cubicBezTo>
                  <a:pt x="3" y="39"/>
                  <a:pt x="3" y="40"/>
                  <a:pt x="3" y="40"/>
                </a:cubicBezTo>
                <a:cubicBezTo>
                  <a:pt x="3" y="40"/>
                  <a:pt x="3" y="40"/>
                  <a:pt x="3" y="40"/>
                </a:cubicBezTo>
                <a:cubicBezTo>
                  <a:pt x="46" y="275"/>
                  <a:pt x="46" y="275"/>
                  <a:pt x="46" y="275"/>
                </a:cubicBezTo>
                <a:cubicBezTo>
                  <a:pt x="49" y="279"/>
                  <a:pt x="97" y="459"/>
                  <a:pt x="97" y="459"/>
                </a:cubicBezTo>
                <a:cubicBezTo>
                  <a:pt x="164" y="453"/>
                  <a:pt x="164" y="453"/>
                  <a:pt x="164" y="453"/>
                </a:cubicBezTo>
              </a:path>
            </a:pathLst>
          </a:custGeom>
          <a:solidFill>
            <a:srgbClr val="AB84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00" name="Freeform 163"/>
          <p:cNvSpPr>
            <a:spLocks/>
          </p:cNvSpPr>
          <p:nvPr userDrawn="1"/>
        </p:nvSpPr>
        <p:spPr bwMode="auto">
          <a:xfrm>
            <a:off x="8144082" y="4865663"/>
            <a:ext cx="457550" cy="196121"/>
          </a:xfrm>
          <a:custGeom>
            <a:avLst/>
            <a:gdLst>
              <a:gd name="T0" fmla="*/ 263 w 264"/>
              <a:gd name="T1" fmla="*/ 58 h 113"/>
              <a:gd name="T2" fmla="*/ 256 w 264"/>
              <a:gd name="T3" fmla="*/ 69 h 113"/>
              <a:gd name="T4" fmla="*/ 21 w 264"/>
              <a:gd name="T5" fmla="*/ 112 h 113"/>
              <a:gd name="T6" fmla="*/ 10 w 264"/>
              <a:gd name="T7" fmla="*/ 105 h 113"/>
              <a:gd name="T8" fmla="*/ 1 w 264"/>
              <a:gd name="T9" fmla="*/ 55 h 113"/>
              <a:gd name="T10" fmla="*/ 8 w 264"/>
              <a:gd name="T11" fmla="*/ 44 h 113"/>
              <a:gd name="T12" fmla="*/ 243 w 264"/>
              <a:gd name="T13" fmla="*/ 1 h 113"/>
              <a:gd name="T14" fmla="*/ 254 w 264"/>
              <a:gd name="T15" fmla="*/ 8 h 113"/>
              <a:gd name="T16" fmla="*/ 263 w 264"/>
              <a:gd name="T1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 h="113">
                <a:moveTo>
                  <a:pt x="263" y="58"/>
                </a:moveTo>
                <a:cubicBezTo>
                  <a:pt x="264" y="63"/>
                  <a:pt x="261" y="68"/>
                  <a:pt x="256" y="69"/>
                </a:cubicBezTo>
                <a:cubicBezTo>
                  <a:pt x="21" y="112"/>
                  <a:pt x="21" y="112"/>
                  <a:pt x="21" y="112"/>
                </a:cubicBezTo>
                <a:cubicBezTo>
                  <a:pt x="16" y="113"/>
                  <a:pt x="11" y="110"/>
                  <a:pt x="10" y="105"/>
                </a:cubicBezTo>
                <a:cubicBezTo>
                  <a:pt x="1" y="55"/>
                  <a:pt x="1" y="55"/>
                  <a:pt x="1" y="55"/>
                </a:cubicBezTo>
                <a:cubicBezTo>
                  <a:pt x="0" y="50"/>
                  <a:pt x="3" y="45"/>
                  <a:pt x="8" y="44"/>
                </a:cubicBezTo>
                <a:cubicBezTo>
                  <a:pt x="243" y="1"/>
                  <a:pt x="243" y="1"/>
                  <a:pt x="243" y="1"/>
                </a:cubicBezTo>
                <a:cubicBezTo>
                  <a:pt x="248" y="0"/>
                  <a:pt x="253" y="3"/>
                  <a:pt x="254" y="8"/>
                </a:cubicBezTo>
                <a:cubicBezTo>
                  <a:pt x="263" y="58"/>
                  <a:pt x="263" y="58"/>
                  <a:pt x="263" y="58"/>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01" name="Freeform 164"/>
          <p:cNvSpPr>
            <a:spLocks/>
          </p:cNvSpPr>
          <p:nvPr userDrawn="1"/>
        </p:nvSpPr>
        <p:spPr bwMode="auto">
          <a:xfrm>
            <a:off x="8145637" y="4865663"/>
            <a:ext cx="454438" cy="196121"/>
          </a:xfrm>
          <a:custGeom>
            <a:avLst/>
            <a:gdLst>
              <a:gd name="T0" fmla="*/ 244 w 262"/>
              <a:gd name="T1" fmla="*/ 0 h 113"/>
              <a:gd name="T2" fmla="*/ 242 w 262"/>
              <a:gd name="T3" fmla="*/ 1 h 113"/>
              <a:gd name="T4" fmla="*/ 76 w 262"/>
              <a:gd name="T5" fmla="*/ 31 h 113"/>
              <a:gd name="T6" fmla="*/ 16 w 262"/>
              <a:gd name="T7" fmla="*/ 42 h 113"/>
              <a:gd name="T8" fmla="*/ 7 w 262"/>
              <a:gd name="T9" fmla="*/ 44 h 113"/>
              <a:gd name="T10" fmla="*/ 0 w 262"/>
              <a:gd name="T11" fmla="*/ 53 h 113"/>
              <a:gd name="T12" fmla="*/ 0 w 262"/>
              <a:gd name="T13" fmla="*/ 55 h 113"/>
              <a:gd name="T14" fmla="*/ 9 w 262"/>
              <a:gd name="T15" fmla="*/ 105 h 113"/>
              <a:gd name="T16" fmla="*/ 18 w 262"/>
              <a:gd name="T17" fmla="*/ 113 h 113"/>
              <a:gd name="T18" fmla="*/ 20 w 262"/>
              <a:gd name="T19" fmla="*/ 112 h 113"/>
              <a:gd name="T20" fmla="*/ 255 w 262"/>
              <a:gd name="T21" fmla="*/ 69 h 113"/>
              <a:gd name="T22" fmla="*/ 262 w 262"/>
              <a:gd name="T23" fmla="*/ 60 h 113"/>
              <a:gd name="T24" fmla="*/ 262 w 262"/>
              <a:gd name="T25" fmla="*/ 58 h 113"/>
              <a:gd name="T26" fmla="*/ 253 w 262"/>
              <a:gd name="T27" fmla="*/ 8 h 113"/>
              <a:gd name="T28" fmla="*/ 244 w 262"/>
              <a:gd name="T2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2" h="113">
                <a:moveTo>
                  <a:pt x="244" y="0"/>
                </a:moveTo>
                <a:cubicBezTo>
                  <a:pt x="243" y="0"/>
                  <a:pt x="243" y="1"/>
                  <a:pt x="242" y="1"/>
                </a:cubicBezTo>
                <a:cubicBezTo>
                  <a:pt x="76" y="31"/>
                  <a:pt x="76" y="31"/>
                  <a:pt x="76" y="31"/>
                </a:cubicBezTo>
                <a:cubicBezTo>
                  <a:pt x="16" y="42"/>
                  <a:pt x="16" y="42"/>
                  <a:pt x="16" y="42"/>
                </a:cubicBezTo>
                <a:cubicBezTo>
                  <a:pt x="7" y="44"/>
                  <a:pt x="7" y="44"/>
                  <a:pt x="7" y="44"/>
                </a:cubicBezTo>
                <a:cubicBezTo>
                  <a:pt x="3" y="45"/>
                  <a:pt x="0" y="49"/>
                  <a:pt x="0" y="53"/>
                </a:cubicBezTo>
                <a:cubicBezTo>
                  <a:pt x="0" y="54"/>
                  <a:pt x="0" y="54"/>
                  <a:pt x="0" y="55"/>
                </a:cubicBezTo>
                <a:cubicBezTo>
                  <a:pt x="9" y="105"/>
                  <a:pt x="9" y="105"/>
                  <a:pt x="9" y="105"/>
                </a:cubicBezTo>
                <a:cubicBezTo>
                  <a:pt x="10" y="109"/>
                  <a:pt x="14" y="113"/>
                  <a:pt x="18" y="113"/>
                </a:cubicBezTo>
                <a:cubicBezTo>
                  <a:pt x="19" y="113"/>
                  <a:pt x="19" y="113"/>
                  <a:pt x="20" y="112"/>
                </a:cubicBezTo>
                <a:cubicBezTo>
                  <a:pt x="255" y="69"/>
                  <a:pt x="255" y="69"/>
                  <a:pt x="255" y="69"/>
                </a:cubicBezTo>
                <a:cubicBezTo>
                  <a:pt x="259" y="68"/>
                  <a:pt x="262" y="64"/>
                  <a:pt x="262" y="60"/>
                </a:cubicBezTo>
                <a:cubicBezTo>
                  <a:pt x="262" y="59"/>
                  <a:pt x="262" y="59"/>
                  <a:pt x="262" y="58"/>
                </a:cubicBezTo>
                <a:cubicBezTo>
                  <a:pt x="253" y="8"/>
                  <a:pt x="253" y="8"/>
                  <a:pt x="253" y="8"/>
                </a:cubicBezTo>
                <a:cubicBezTo>
                  <a:pt x="252" y="4"/>
                  <a:pt x="248" y="0"/>
                  <a:pt x="24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02" name="Freeform 165"/>
          <p:cNvSpPr>
            <a:spLocks/>
          </p:cNvSpPr>
          <p:nvPr userDrawn="1"/>
        </p:nvSpPr>
        <p:spPr bwMode="auto">
          <a:xfrm>
            <a:off x="8225009" y="4879672"/>
            <a:ext cx="295696" cy="168103"/>
          </a:xfrm>
          <a:custGeom>
            <a:avLst/>
            <a:gdLst>
              <a:gd name="T0" fmla="*/ 190 w 190"/>
              <a:gd name="T1" fmla="*/ 76 h 108"/>
              <a:gd name="T2" fmla="*/ 14 w 190"/>
              <a:gd name="T3" fmla="*/ 108 h 108"/>
              <a:gd name="T4" fmla="*/ 0 w 190"/>
              <a:gd name="T5" fmla="*/ 33 h 108"/>
              <a:gd name="T6" fmla="*/ 177 w 190"/>
              <a:gd name="T7" fmla="*/ 0 h 108"/>
              <a:gd name="T8" fmla="*/ 190 w 190"/>
              <a:gd name="T9" fmla="*/ 76 h 108"/>
            </a:gdLst>
            <a:ahLst/>
            <a:cxnLst>
              <a:cxn ang="0">
                <a:pos x="T0" y="T1"/>
              </a:cxn>
              <a:cxn ang="0">
                <a:pos x="T2" y="T3"/>
              </a:cxn>
              <a:cxn ang="0">
                <a:pos x="T4" y="T5"/>
              </a:cxn>
              <a:cxn ang="0">
                <a:pos x="T6" y="T7"/>
              </a:cxn>
              <a:cxn ang="0">
                <a:pos x="T8" y="T9"/>
              </a:cxn>
            </a:cxnLst>
            <a:rect l="0" t="0" r="r" b="b"/>
            <a:pathLst>
              <a:path w="190" h="108">
                <a:moveTo>
                  <a:pt x="190" y="76"/>
                </a:moveTo>
                <a:lnTo>
                  <a:pt x="14" y="108"/>
                </a:lnTo>
                <a:lnTo>
                  <a:pt x="0" y="33"/>
                </a:lnTo>
                <a:lnTo>
                  <a:pt x="177" y="0"/>
                </a:lnTo>
                <a:lnTo>
                  <a:pt x="190" y="7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03" name="Freeform 166"/>
          <p:cNvSpPr>
            <a:spLocks/>
          </p:cNvSpPr>
          <p:nvPr userDrawn="1"/>
        </p:nvSpPr>
        <p:spPr bwMode="auto">
          <a:xfrm>
            <a:off x="8403982" y="4907689"/>
            <a:ext cx="82484" cy="87165"/>
          </a:xfrm>
          <a:custGeom>
            <a:avLst/>
            <a:gdLst>
              <a:gd name="T0" fmla="*/ 53 w 53"/>
              <a:gd name="T1" fmla="*/ 48 h 56"/>
              <a:gd name="T2" fmla="*/ 9 w 53"/>
              <a:gd name="T3" fmla="*/ 56 h 56"/>
              <a:gd name="T4" fmla="*/ 0 w 53"/>
              <a:gd name="T5" fmla="*/ 8 h 56"/>
              <a:gd name="T6" fmla="*/ 44 w 53"/>
              <a:gd name="T7" fmla="*/ 0 h 56"/>
              <a:gd name="T8" fmla="*/ 53 w 53"/>
              <a:gd name="T9" fmla="*/ 48 h 56"/>
            </a:gdLst>
            <a:ahLst/>
            <a:cxnLst>
              <a:cxn ang="0">
                <a:pos x="T0" y="T1"/>
              </a:cxn>
              <a:cxn ang="0">
                <a:pos x="T2" y="T3"/>
              </a:cxn>
              <a:cxn ang="0">
                <a:pos x="T4" y="T5"/>
              </a:cxn>
              <a:cxn ang="0">
                <a:pos x="T6" y="T7"/>
              </a:cxn>
              <a:cxn ang="0">
                <a:pos x="T8" y="T9"/>
              </a:cxn>
            </a:cxnLst>
            <a:rect l="0" t="0" r="r" b="b"/>
            <a:pathLst>
              <a:path w="53" h="56">
                <a:moveTo>
                  <a:pt x="53" y="48"/>
                </a:moveTo>
                <a:lnTo>
                  <a:pt x="9" y="56"/>
                </a:lnTo>
                <a:lnTo>
                  <a:pt x="0" y="8"/>
                </a:lnTo>
                <a:lnTo>
                  <a:pt x="44" y="0"/>
                </a:lnTo>
                <a:lnTo>
                  <a:pt x="53" y="4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04" name="Freeform 167"/>
          <p:cNvSpPr>
            <a:spLocks/>
          </p:cNvSpPr>
          <p:nvPr userDrawn="1"/>
        </p:nvSpPr>
        <p:spPr bwMode="auto">
          <a:xfrm>
            <a:off x="8428883" y="4937263"/>
            <a:ext cx="34238" cy="35800"/>
          </a:xfrm>
          <a:custGeom>
            <a:avLst/>
            <a:gdLst>
              <a:gd name="T0" fmla="*/ 14 w 22"/>
              <a:gd name="T1" fmla="*/ 1 h 23"/>
              <a:gd name="T2" fmla="*/ 4 w 22"/>
              <a:gd name="T3" fmla="*/ 0 h 23"/>
              <a:gd name="T4" fmla="*/ 4 w 22"/>
              <a:gd name="T5" fmla="*/ 8 h 23"/>
              <a:gd name="T6" fmla="*/ 7 w 22"/>
              <a:gd name="T7" fmla="*/ 8 h 23"/>
              <a:gd name="T8" fmla="*/ 7 w 22"/>
              <a:gd name="T9" fmla="*/ 4 h 23"/>
              <a:gd name="T10" fmla="*/ 10 w 22"/>
              <a:gd name="T11" fmla="*/ 4 h 23"/>
              <a:gd name="T12" fmla="*/ 8 w 22"/>
              <a:gd name="T13" fmla="*/ 12 h 23"/>
              <a:gd name="T14" fmla="*/ 7 w 22"/>
              <a:gd name="T15" fmla="*/ 18 h 23"/>
              <a:gd name="T16" fmla="*/ 0 w 22"/>
              <a:gd name="T17" fmla="*/ 21 h 23"/>
              <a:gd name="T18" fmla="*/ 1 w 22"/>
              <a:gd name="T19" fmla="*/ 23 h 23"/>
              <a:gd name="T20" fmla="*/ 9 w 22"/>
              <a:gd name="T21" fmla="*/ 20 h 23"/>
              <a:gd name="T22" fmla="*/ 11 w 22"/>
              <a:gd name="T23" fmla="*/ 12 h 23"/>
              <a:gd name="T24" fmla="*/ 16 w 22"/>
              <a:gd name="T25" fmla="*/ 16 h 23"/>
              <a:gd name="T26" fmla="*/ 13 w 22"/>
              <a:gd name="T27" fmla="*/ 22 h 23"/>
              <a:gd name="T28" fmla="*/ 16 w 22"/>
              <a:gd name="T29" fmla="*/ 22 h 23"/>
              <a:gd name="T30" fmla="*/ 19 w 22"/>
              <a:gd name="T31" fmla="*/ 14 h 23"/>
              <a:gd name="T32" fmla="*/ 13 w 22"/>
              <a:gd name="T33" fmla="*/ 11 h 23"/>
              <a:gd name="T34" fmla="*/ 14 w 22"/>
              <a:gd name="T35" fmla="*/ 6 h 23"/>
              <a:gd name="T36" fmla="*/ 18 w 22"/>
              <a:gd name="T37" fmla="*/ 9 h 23"/>
              <a:gd name="T38" fmla="*/ 22 w 22"/>
              <a:gd name="T39" fmla="*/ 7 h 23"/>
              <a:gd name="T40" fmla="*/ 20 w 22"/>
              <a:gd name="T41" fmla="*/ 4 h 23"/>
              <a:gd name="T42" fmla="*/ 18 w 22"/>
              <a:gd name="T43" fmla="*/ 6 h 23"/>
              <a:gd name="T44" fmla="*/ 14 w 22"/>
              <a:gd name="T45"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23">
                <a:moveTo>
                  <a:pt x="14" y="1"/>
                </a:moveTo>
                <a:lnTo>
                  <a:pt x="4" y="0"/>
                </a:lnTo>
                <a:lnTo>
                  <a:pt x="4" y="8"/>
                </a:lnTo>
                <a:lnTo>
                  <a:pt x="7" y="8"/>
                </a:lnTo>
                <a:lnTo>
                  <a:pt x="7" y="4"/>
                </a:lnTo>
                <a:lnTo>
                  <a:pt x="10" y="4"/>
                </a:lnTo>
                <a:lnTo>
                  <a:pt x="8" y="12"/>
                </a:lnTo>
                <a:lnTo>
                  <a:pt x="7" y="18"/>
                </a:lnTo>
                <a:lnTo>
                  <a:pt x="0" y="21"/>
                </a:lnTo>
                <a:lnTo>
                  <a:pt x="1" y="23"/>
                </a:lnTo>
                <a:lnTo>
                  <a:pt x="9" y="20"/>
                </a:lnTo>
                <a:lnTo>
                  <a:pt x="11" y="12"/>
                </a:lnTo>
                <a:lnTo>
                  <a:pt x="16" y="16"/>
                </a:lnTo>
                <a:lnTo>
                  <a:pt x="13" y="22"/>
                </a:lnTo>
                <a:lnTo>
                  <a:pt x="16" y="22"/>
                </a:lnTo>
                <a:lnTo>
                  <a:pt x="19" y="14"/>
                </a:lnTo>
                <a:lnTo>
                  <a:pt x="13" y="11"/>
                </a:lnTo>
                <a:lnTo>
                  <a:pt x="14" y="6"/>
                </a:lnTo>
                <a:lnTo>
                  <a:pt x="18" y="9"/>
                </a:lnTo>
                <a:lnTo>
                  <a:pt x="22" y="7"/>
                </a:lnTo>
                <a:lnTo>
                  <a:pt x="20" y="4"/>
                </a:lnTo>
                <a:lnTo>
                  <a:pt x="18" y="6"/>
                </a:lnTo>
                <a:lnTo>
                  <a:pt x="14" y="1"/>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05" name="Freeform 168"/>
          <p:cNvSpPr>
            <a:spLocks/>
          </p:cNvSpPr>
          <p:nvPr userDrawn="1"/>
        </p:nvSpPr>
        <p:spPr bwMode="auto">
          <a:xfrm>
            <a:off x="8444446" y="4926367"/>
            <a:ext cx="10895" cy="10896"/>
          </a:xfrm>
          <a:custGeom>
            <a:avLst/>
            <a:gdLst>
              <a:gd name="T0" fmla="*/ 6 w 6"/>
              <a:gd name="T1" fmla="*/ 3 h 6"/>
              <a:gd name="T2" fmla="*/ 3 w 6"/>
              <a:gd name="T3" fmla="*/ 6 h 6"/>
              <a:gd name="T4" fmla="*/ 0 w 6"/>
              <a:gd name="T5" fmla="*/ 3 h 6"/>
              <a:gd name="T6" fmla="*/ 3 w 6"/>
              <a:gd name="T7" fmla="*/ 0 h 6"/>
              <a:gd name="T8" fmla="*/ 6 w 6"/>
              <a:gd name="T9" fmla="*/ 3 h 6"/>
            </a:gdLst>
            <a:ahLst/>
            <a:cxnLst>
              <a:cxn ang="0">
                <a:pos x="T0" y="T1"/>
              </a:cxn>
              <a:cxn ang="0">
                <a:pos x="T2" y="T3"/>
              </a:cxn>
              <a:cxn ang="0">
                <a:pos x="T4" y="T5"/>
              </a:cxn>
              <a:cxn ang="0">
                <a:pos x="T6" y="T7"/>
              </a:cxn>
              <a:cxn ang="0">
                <a:pos x="T8" y="T9"/>
              </a:cxn>
            </a:cxnLst>
            <a:rect l="0" t="0" r="r" b="b"/>
            <a:pathLst>
              <a:path w="6" h="6">
                <a:moveTo>
                  <a:pt x="6" y="3"/>
                </a:moveTo>
                <a:cubicBezTo>
                  <a:pt x="5" y="5"/>
                  <a:pt x="4" y="6"/>
                  <a:pt x="3" y="6"/>
                </a:cubicBezTo>
                <a:cubicBezTo>
                  <a:pt x="1" y="5"/>
                  <a:pt x="0" y="4"/>
                  <a:pt x="0" y="3"/>
                </a:cubicBezTo>
                <a:cubicBezTo>
                  <a:pt x="0" y="1"/>
                  <a:pt x="2" y="0"/>
                  <a:pt x="3" y="0"/>
                </a:cubicBezTo>
                <a:cubicBezTo>
                  <a:pt x="5" y="0"/>
                  <a:pt x="6" y="2"/>
                  <a:pt x="6" y="3"/>
                </a:cubicBez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06" name="Freeform 169"/>
          <p:cNvSpPr>
            <a:spLocks/>
          </p:cNvSpPr>
          <p:nvPr userDrawn="1"/>
        </p:nvSpPr>
        <p:spPr bwMode="auto">
          <a:xfrm>
            <a:off x="8333949" y="4920141"/>
            <a:ext cx="80927" cy="87165"/>
          </a:xfrm>
          <a:custGeom>
            <a:avLst/>
            <a:gdLst>
              <a:gd name="T0" fmla="*/ 52 w 52"/>
              <a:gd name="T1" fmla="*/ 48 h 56"/>
              <a:gd name="T2" fmla="*/ 7 w 52"/>
              <a:gd name="T3" fmla="*/ 56 h 56"/>
              <a:gd name="T4" fmla="*/ 0 w 52"/>
              <a:gd name="T5" fmla="*/ 9 h 56"/>
              <a:gd name="T6" fmla="*/ 43 w 52"/>
              <a:gd name="T7" fmla="*/ 0 h 56"/>
              <a:gd name="T8" fmla="*/ 52 w 52"/>
              <a:gd name="T9" fmla="*/ 48 h 56"/>
            </a:gdLst>
            <a:ahLst/>
            <a:cxnLst>
              <a:cxn ang="0">
                <a:pos x="T0" y="T1"/>
              </a:cxn>
              <a:cxn ang="0">
                <a:pos x="T2" y="T3"/>
              </a:cxn>
              <a:cxn ang="0">
                <a:pos x="T4" y="T5"/>
              </a:cxn>
              <a:cxn ang="0">
                <a:pos x="T6" y="T7"/>
              </a:cxn>
              <a:cxn ang="0">
                <a:pos x="T8" y="T9"/>
              </a:cxn>
            </a:cxnLst>
            <a:rect l="0" t="0" r="r" b="b"/>
            <a:pathLst>
              <a:path w="52" h="56">
                <a:moveTo>
                  <a:pt x="52" y="48"/>
                </a:moveTo>
                <a:lnTo>
                  <a:pt x="7" y="56"/>
                </a:lnTo>
                <a:lnTo>
                  <a:pt x="0" y="9"/>
                </a:lnTo>
                <a:lnTo>
                  <a:pt x="43" y="0"/>
                </a:lnTo>
                <a:lnTo>
                  <a:pt x="52" y="48"/>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07" name="Freeform 170"/>
          <p:cNvSpPr>
            <a:spLocks/>
          </p:cNvSpPr>
          <p:nvPr userDrawn="1"/>
        </p:nvSpPr>
        <p:spPr bwMode="auto">
          <a:xfrm>
            <a:off x="8351068" y="4951271"/>
            <a:ext cx="45133" cy="31130"/>
          </a:xfrm>
          <a:custGeom>
            <a:avLst/>
            <a:gdLst>
              <a:gd name="T0" fmla="*/ 0 w 29"/>
              <a:gd name="T1" fmla="*/ 4 h 20"/>
              <a:gd name="T2" fmla="*/ 3 w 29"/>
              <a:gd name="T3" fmla="*/ 20 h 20"/>
              <a:gd name="T4" fmla="*/ 29 w 29"/>
              <a:gd name="T5" fmla="*/ 15 h 20"/>
              <a:gd name="T6" fmla="*/ 27 w 29"/>
              <a:gd name="T7" fmla="*/ 0 h 20"/>
              <a:gd name="T8" fmla="*/ 15 w 29"/>
              <a:gd name="T9" fmla="*/ 12 h 20"/>
              <a:gd name="T10" fmla="*/ 0 w 29"/>
              <a:gd name="T11" fmla="*/ 4 h 20"/>
            </a:gdLst>
            <a:ahLst/>
            <a:cxnLst>
              <a:cxn ang="0">
                <a:pos x="T0" y="T1"/>
              </a:cxn>
              <a:cxn ang="0">
                <a:pos x="T2" y="T3"/>
              </a:cxn>
              <a:cxn ang="0">
                <a:pos x="T4" y="T5"/>
              </a:cxn>
              <a:cxn ang="0">
                <a:pos x="T6" y="T7"/>
              </a:cxn>
              <a:cxn ang="0">
                <a:pos x="T8" y="T9"/>
              </a:cxn>
              <a:cxn ang="0">
                <a:pos x="T10" y="T11"/>
              </a:cxn>
            </a:cxnLst>
            <a:rect l="0" t="0" r="r" b="b"/>
            <a:pathLst>
              <a:path w="29" h="20">
                <a:moveTo>
                  <a:pt x="0" y="4"/>
                </a:moveTo>
                <a:lnTo>
                  <a:pt x="3" y="20"/>
                </a:lnTo>
                <a:lnTo>
                  <a:pt x="29" y="15"/>
                </a:lnTo>
                <a:lnTo>
                  <a:pt x="27" y="0"/>
                </a:lnTo>
                <a:lnTo>
                  <a:pt x="15" y="12"/>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08" name="Freeform 171"/>
          <p:cNvSpPr>
            <a:spLocks/>
          </p:cNvSpPr>
          <p:nvPr userDrawn="1"/>
        </p:nvSpPr>
        <p:spPr bwMode="auto">
          <a:xfrm>
            <a:off x="8351068" y="4946601"/>
            <a:ext cx="38908" cy="20235"/>
          </a:xfrm>
          <a:custGeom>
            <a:avLst/>
            <a:gdLst>
              <a:gd name="T0" fmla="*/ 0 w 25"/>
              <a:gd name="T1" fmla="*/ 4 h 13"/>
              <a:gd name="T2" fmla="*/ 0 w 25"/>
              <a:gd name="T3" fmla="*/ 5 h 13"/>
              <a:gd name="T4" fmla="*/ 14 w 25"/>
              <a:gd name="T5" fmla="*/ 13 h 13"/>
              <a:gd name="T6" fmla="*/ 25 w 25"/>
              <a:gd name="T7" fmla="*/ 1 h 13"/>
              <a:gd name="T8" fmla="*/ 25 w 25"/>
              <a:gd name="T9" fmla="*/ 0 h 13"/>
              <a:gd name="T10" fmla="*/ 0 w 25"/>
              <a:gd name="T11" fmla="*/ 4 h 13"/>
            </a:gdLst>
            <a:ahLst/>
            <a:cxnLst>
              <a:cxn ang="0">
                <a:pos x="T0" y="T1"/>
              </a:cxn>
              <a:cxn ang="0">
                <a:pos x="T2" y="T3"/>
              </a:cxn>
              <a:cxn ang="0">
                <a:pos x="T4" y="T5"/>
              </a:cxn>
              <a:cxn ang="0">
                <a:pos x="T6" y="T7"/>
              </a:cxn>
              <a:cxn ang="0">
                <a:pos x="T8" y="T9"/>
              </a:cxn>
              <a:cxn ang="0">
                <a:pos x="T10" y="T11"/>
              </a:cxn>
            </a:cxnLst>
            <a:rect l="0" t="0" r="r" b="b"/>
            <a:pathLst>
              <a:path w="25" h="13">
                <a:moveTo>
                  <a:pt x="0" y="4"/>
                </a:moveTo>
                <a:lnTo>
                  <a:pt x="0" y="5"/>
                </a:lnTo>
                <a:lnTo>
                  <a:pt x="14" y="13"/>
                </a:lnTo>
                <a:lnTo>
                  <a:pt x="25" y="1"/>
                </a:lnTo>
                <a:lnTo>
                  <a:pt x="25" y="0"/>
                </a:lnTo>
                <a:lnTo>
                  <a:pt x="0" y="4"/>
                </a:lnTo>
                <a:close/>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09" name="Freeform 172"/>
          <p:cNvSpPr>
            <a:spLocks/>
          </p:cNvSpPr>
          <p:nvPr userDrawn="1"/>
        </p:nvSpPr>
        <p:spPr bwMode="auto">
          <a:xfrm>
            <a:off x="8260803" y="4934149"/>
            <a:ext cx="80927" cy="85609"/>
          </a:xfrm>
          <a:custGeom>
            <a:avLst/>
            <a:gdLst>
              <a:gd name="T0" fmla="*/ 52 w 52"/>
              <a:gd name="T1" fmla="*/ 47 h 55"/>
              <a:gd name="T2" fmla="*/ 9 w 52"/>
              <a:gd name="T3" fmla="*/ 55 h 55"/>
              <a:gd name="T4" fmla="*/ 0 w 52"/>
              <a:gd name="T5" fmla="*/ 8 h 55"/>
              <a:gd name="T6" fmla="*/ 44 w 52"/>
              <a:gd name="T7" fmla="*/ 0 h 55"/>
              <a:gd name="T8" fmla="*/ 52 w 52"/>
              <a:gd name="T9" fmla="*/ 47 h 55"/>
            </a:gdLst>
            <a:ahLst/>
            <a:cxnLst>
              <a:cxn ang="0">
                <a:pos x="T0" y="T1"/>
              </a:cxn>
              <a:cxn ang="0">
                <a:pos x="T2" y="T3"/>
              </a:cxn>
              <a:cxn ang="0">
                <a:pos x="T4" y="T5"/>
              </a:cxn>
              <a:cxn ang="0">
                <a:pos x="T6" y="T7"/>
              </a:cxn>
              <a:cxn ang="0">
                <a:pos x="T8" y="T9"/>
              </a:cxn>
            </a:cxnLst>
            <a:rect l="0" t="0" r="r" b="b"/>
            <a:pathLst>
              <a:path w="52" h="55">
                <a:moveTo>
                  <a:pt x="52" y="47"/>
                </a:moveTo>
                <a:lnTo>
                  <a:pt x="9" y="55"/>
                </a:lnTo>
                <a:lnTo>
                  <a:pt x="0" y="8"/>
                </a:lnTo>
                <a:lnTo>
                  <a:pt x="44" y="0"/>
                </a:lnTo>
                <a:lnTo>
                  <a:pt x="52" y="47"/>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10" name="Freeform 173"/>
          <p:cNvSpPr>
            <a:spLocks/>
          </p:cNvSpPr>
          <p:nvPr userDrawn="1"/>
        </p:nvSpPr>
        <p:spPr bwMode="auto">
          <a:xfrm>
            <a:off x="8281035" y="4957497"/>
            <a:ext cx="40464" cy="37356"/>
          </a:xfrm>
          <a:custGeom>
            <a:avLst/>
            <a:gdLst>
              <a:gd name="T0" fmla="*/ 22 w 23"/>
              <a:gd name="T1" fmla="*/ 5 h 21"/>
              <a:gd name="T2" fmla="*/ 15 w 23"/>
              <a:gd name="T3" fmla="*/ 1 h 21"/>
              <a:gd name="T4" fmla="*/ 11 w 23"/>
              <a:gd name="T5" fmla="*/ 4 h 21"/>
              <a:gd name="T6" fmla="*/ 5 w 23"/>
              <a:gd name="T7" fmla="*/ 2 h 21"/>
              <a:gd name="T8" fmla="*/ 0 w 23"/>
              <a:gd name="T9" fmla="*/ 9 h 21"/>
              <a:gd name="T10" fmla="*/ 14 w 23"/>
              <a:gd name="T11" fmla="*/ 21 h 21"/>
              <a:gd name="T12" fmla="*/ 22 w 23"/>
              <a:gd name="T13" fmla="*/ 5 h 21"/>
            </a:gdLst>
            <a:ahLst/>
            <a:cxnLst>
              <a:cxn ang="0">
                <a:pos x="T0" y="T1"/>
              </a:cxn>
              <a:cxn ang="0">
                <a:pos x="T2" y="T3"/>
              </a:cxn>
              <a:cxn ang="0">
                <a:pos x="T4" y="T5"/>
              </a:cxn>
              <a:cxn ang="0">
                <a:pos x="T6" y="T7"/>
              </a:cxn>
              <a:cxn ang="0">
                <a:pos x="T8" y="T9"/>
              </a:cxn>
              <a:cxn ang="0">
                <a:pos x="T10" y="T11"/>
              </a:cxn>
              <a:cxn ang="0">
                <a:pos x="T12" y="T13"/>
              </a:cxn>
            </a:cxnLst>
            <a:rect l="0" t="0" r="r" b="b"/>
            <a:pathLst>
              <a:path w="23" h="21">
                <a:moveTo>
                  <a:pt x="22" y="5"/>
                </a:moveTo>
                <a:cubicBezTo>
                  <a:pt x="22" y="2"/>
                  <a:pt x="19" y="0"/>
                  <a:pt x="15" y="1"/>
                </a:cubicBezTo>
                <a:cubicBezTo>
                  <a:pt x="13" y="1"/>
                  <a:pt x="11" y="2"/>
                  <a:pt x="11" y="4"/>
                </a:cubicBezTo>
                <a:cubicBezTo>
                  <a:pt x="9" y="3"/>
                  <a:pt x="8" y="2"/>
                  <a:pt x="5" y="2"/>
                </a:cubicBezTo>
                <a:cubicBezTo>
                  <a:pt x="2" y="3"/>
                  <a:pt x="0" y="6"/>
                  <a:pt x="0" y="9"/>
                </a:cubicBezTo>
                <a:cubicBezTo>
                  <a:pt x="1" y="15"/>
                  <a:pt x="10" y="19"/>
                  <a:pt x="14" y="21"/>
                </a:cubicBezTo>
                <a:cubicBezTo>
                  <a:pt x="17" y="17"/>
                  <a:pt x="23" y="11"/>
                  <a:pt x="22" y="5"/>
                </a:cubicBezTo>
              </a:path>
            </a:pathLst>
          </a:cu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11" name="Freeform 174"/>
          <p:cNvSpPr>
            <a:spLocks/>
          </p:cNvSpPr>
          <p:nvPr userDrawn="1"/>
        </p:nvSpPr>
        <p:spPr bwMode="auto">
          <a:xfrm>
            <a:off x="8231234" y="5106923"/>
            <a:ext cx="448212" cy="255268"/>
          </a:xfrm>
          <a:custGeom>
            <a:avLst/>
            <a:gdLst>
              <a:gd name="T0" fmla="*/ 288 w 288"/>
              <a:gd name="T1" fmla="*/ 164 h 164"/>
              <a:gd name="T2" fmla="*/ 240 w 288"/>
              <a:gd name="T3" fmla="*/ 0 h 164"/>
              <a:gd name="T4" fmla="*/ 0 w 288"/>
              <a:gd name="T5" fmla="*/ 36 h 164"/>
              <a:gd name="T6" fmla="*/ 18 w 288"/>
              <a:gd name="T7" fmla="*/ 164 h 164"/>
              <a:gd name="T8" fmla="*/ 288 w 288"/>
              <a:gd name="T9" fmla="*/ 164 h 164"/>
            </a:gdLst>
            <a:ahLst/>
            <a:cxnLst>
              <a:cxn ang="0">
                <a:pos x="T0" y="T1"/>
              </a:cxn>
              <a:cxn ang="0">
                <a:pos x="T2" y="T3"/>
              </a:cxn>
              <a:cxn ang="0">
                <a:pos x="T4" y="T5"/>
              </a:cxn>
              <a:cxn ang="0">
                <a:pos x="T6" y="T7"/>
              </a:cxn>
              <a:cxn ang="0">
                <a:pos x="T8" y="T9"/>
              </a:cxn>
            </a:cxnLst>
            <a:rect l="0" t="0" r="r" b="b"/>
            <a:pathLst>
              <a:path w="288" h="164">
                <a:moveTo>
                  <a:pt x="288" y="164"/>
                </a:moveTo>
                <a:lnTo>
                  <a:pt x="240" y="0"/>
                </a:lnTo>
                <a:lnTo>
                  <a:pt x="0" y="36"/>
                </a:lnTo>
                <a:lnTo>
                  <a:pt x="18" y="164"/>
                </a:lnTo>
                <a:lnTo>
                  <a:pt x="288" y="164"/>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12" name="Freeform 175"/>
          <p:cNvSpPr>
            <a:spLocks/>
          </p:cNvSpPr>
          <p:nvPr userDrawn="1"/>
        </p:nvSpPr>
        <p:spPr bwMode="auto">
          <a:xfrm>
            <a:off x="8231234" y="5145835"/>
            <a:ext cx="189868" cy="216356"/>
          </a:xfrm>
          <a:custGeom>
            <a:avLst/>
            <a:gdLst>
              <a:gd name="T0" fmla="*/ 122 w 122"/>
              <a:gd name="T1" fmla="*/ 139 h 139"/>
              <a:gd name="T2" fmla="*/ 18 w 122"/>
              <a:gd name="T3" fmla="*/ 139 h 139"/>
              <a:gd name="T4" fmla="*/ 0 w 122"/>
              <a:gd name="T5" fmla="*/ 11 h 139"/>
              <a:gd name="T6" fmla="*/ 75 w 122"/>
              <a:gd name="T7" fmla="*/ 0 h 139"/>
              <a:gd name="T8" fmla="*/ 122 w 122"/>
              <a:gd name="T9" fmla="*/ 139 h 139"/>
            </a:gdLst>
            <a:ahLst/>
            <a:cxnLst>
              <a:cxn ang="0">
                <a:pos x="T0" y="T1"/>
              </a:cxn>
              <a:cxn ang="0">
                <a:pos x="T2" y="T3"/>
              </a:cxn>
              <a:cxn ang="0">
                <a:pos x="T4" y="T5"/>
              </a:cxn>
              <a:cxn ang="0">
                <a:pos x="T6" y="T7"/>
              </a:cxn>
              <a:cxn ang="0">
                <a:pos x="T8" y="T9"/>
              </a:cxn>
            </a:cxnLst>
            <a:rect l="0" t="0" r="r" b="b"/>
            <a:pathLst>
              <a:path w="122" h="139">
                <a:moveTo>
                  <a:pt x="122" y="139"/>
                </a:moveTo>
                <a:lnTo>
                  <a:pt x="18" y="139"/>
                </a:lnTo>
                <a:lnTo>
                  <a:pt x="0" y="11"/>
                </a:lnTo>
                <a:lnTo>
                  <a:pt x="75" y="0"/>
                </a:lnTo>
                <a:lnTo>
                  <a:pt x="122" y="139"/>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13" name="Rectangle 176"/>
          <p:cNvSpPr>
            <a:spLocks noChangeArrowheads="1"/>
          </p:cNvSpPr>
          <p:nvPr userDrawn="1"/>
        </p:nvSpPr>
        <p:spPr bwMode="auto">
          <a:xfrm>
            <a:off x="8086498" y="2490422"/>
            <a:ext cx="161854" cy="32687"/>
          </a:xfrm>
          <a:prstGeom prst="rect">
            <a:avLst/>
          </a:prstGeom>
          <a:solidFill>
            <a:srgbClr val="BAD80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14" name="Freeform 177"/>
          <p:cNvSpPr>
            <a:spLocks/>
          </p:cNvSpPr>
          <p:nvPr userDrawn="1"/>
        </p:nvSpPr>
        <p:spPr bwMode="auto">
          <a:xfrm>
            <a:off x="7692756" y="4574595"/>
            <a:ext cx="87152" cy="32687"/>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15" name="Freeform 178"/>
          <p:cNvSpPr>
            <a:spLocks/>
          </p:cNvSpPr>
          <p:nvPr userDrawn="1"/>
        </p:nvSpPr>
        <p:spPr bwMode="auto">
          <a:xfrm>
            <a:off x="7692756" y="4574595"/>
            <a:ext cx="87152" cy="32687"/>
          </a:xfrm>
          <a:custGeom>
            <a:avLst/>
            <a:gdLst>
              <a:gd name="T0" fmla="*/ 50 w 50"/>
              <a:gd name="T1" fmla="*/ 0 h 19"/>
              <a:gd name="T2" fmla="*/ 42 w 50"/>
              <a:gd name="T3" fmla="*/ 19 h 19"/>
              <a:gd name="T4" fmla="*/ 8 w 50"/>
              <a:gd name="T5" fmla="*/ 19 h 19"/>
              <a:gd name="T6" fmla="*/ 0 w 50"/>
              <a:gd name="T7" fmla="*/ 0 h 19"/>
              <a:gd name="T8" fmla="*/ 50 w 50"/>
              <a:gd name="T9" fmla="*/ 0 h 19"/>
            </a:gdLst>
            <a:ahLst/>
            <a:cxnLst>
              <a:cxn ang="0">
                <a:pos x="T0" y="T1"/>
              </a:cxn>
              <a:cxn ang="0">
                <a:pos x="T2" y="T3"/>
              </a:cxn>
              <a:cxn ang="0">
                <a:pos x="T4" y="T5"/>
              </a:cxn>
              <a:cxn ang="0">
                <a:pos x="T6" y="T7"/>
              </a:cxn>
              <a:cxn ang="0">
                <a:pos x="T8" y="T9"/>
              </a:cxn>
            </a:cxnLst>
            <a:rect l="0" t="0" r="r" b="b"/>
            <a:pathLst>
              <a:path w="50" h="19">
                <a:moveTo>
                  <a:pt x="50" y="0"/>
                </a:moveTo>
                <a:cubicBezTo>
                  <a:pt x="47" y="6"/>
                  <a:pt x="44" y="12"/>
                  <a:pt x="42" y="19"/>
                </a:cubicBezTo>
                <a:cubicBezTo>
                  <a:pt x="8" y="19"/>
                  <a:pt x="8" y="19"/>
                  <a:pt x="8" y="19"/>
                </a:cubicBezTo>
                <a:cubicBezTo>
                  <a:pt x="5" y="13"/>
                  <a:pt x="2" y="7"/>
                  <a:pt x="0" y="0"/>
                </a:cubicBezTo>
                <a:lnTo>
                  <a:pt x="50" y="0"/>
                </a:lnTo>
                <a:close/>
              </a:path>
            </a:pathLst>
          </a:custGeom>
          <a:solidFill>
            <a:srgbClr val="BAD8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16" name="Freeform 179"/>
          <p:cNvSpPr>
            <a:spLocks/>
          </p:cNvSpPr>
          <p:nvPr userDrawn="1"/>
        </p:nvSpPr>
        <p:spPr bwMode="auto">
          <a:xfrm>
            <a:off x="9857561" y="3488148"/>
            <a:ext cx="955564" cy="1411759"/>
          </a:xfrm>
          <a:custGeom>
            <a:avLst/>
            <a:gdLst>
              <a:gd name="T0" fmla="*/ 25 w 614"/>
              <a:gd name="T1" fmla="*/ 0 h 907"/>
              <a:gd name="T2" fmla="*/ 0 w 614"/>
              <a:gd name="T3" fmla="*/ 18 h 907"/>
              <a:gd name="T4" fmla="*/ 243 w 614"/>
              <a:gd name="T5" fmla="*/ 386 h 907"/>
              <a:gd name="T6" fmla="*/ 588 w 614"/>
              <a:gd name="T7" fmla="*/ 907 h 907"/>
              <a:gd name="T8" fmla="*/ 614 w 614"/>
              <a:gd name="T9" fmla="*/ 890 h 907"/>
              <a:gd name="T10" fmla="*/ 25 w 614"/>
              <a:gd name="T11" fmla="*/ 0 h 907"/>
            </a:gdLst>
            <a:ahLst/>
            <a:cxnLst>
              <a:cxn ang="0">
                <a:pos x="T0" y="T1"/>
              </a:cxn>
              <a:cxn ang="0">
                <a:pos x="T2" y="T3"/>
              </a:cxn>
              <a:cxn ang="0">
                <a:pos x="T4" y="T5"/>
              </a:cxn>
              <a:cxn ang="0">
                <a:pos x="T6" y="T7"/>
              </a:cxn>
              <a:cxn ang="0">
                <a:pos x="T8" y="T9"/>
              </a:cxn>
              <a:cxn ang="0">
                <a:pos x="T10" y="T11"/>
              </a:cxn>
            </a:cxnLst>
            <a:rect l="0" t="0" r="r" b="b"/>
            <a:pathLst>
              <a:path w="614" h="907">
                <a:moveTo>
                  <a:pt x="25" y="0"/>
                </a:moveTo>
                <a:lnTo>
                  <a:pt x="0" y="18"/>
                </a:lnTo>
                <a:lnTo>
                  <a:pt x="243" y="386"/>
                </a:lnTo>
                <a:lnTo>
                  <a:pt x="588" y="907"/>
                </a:lnTo>
                <a:lnTo>
                  <a:pt x="614" y="890"/>
                </a:lnTo>
                <a:lnTo>
                  <a:pt x="25" y="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17" name="Freeform 180"/>
          <p:cNvSpPr>
            <a:spLocks/>
          </p:cNvSpPr>
          <p:nvPr userDrawn="1"/>
        </p:nvSpPr>
        <p:spPr bwMode="auto">
          <a:xfrm>
            <a:off x="10704184" y="4769159"/>
            <a:ext cx="56027" cy="46695"/>
          </a:xfrm>
          <a:custGeom>
            <a:avLst/>
            <a:gdLst>
              <a:gd name="T0" fmla="*/ 36 w 36"/>
              <a:gd name="T1" fmla="*/ 14 h 30"/>
              <a:gd name="T2" fmla="*/ 9 w 36"/>
              <a:gd name="T3" fmla="*/ 30 h 30"/>
              <a:gd name="T4" fmla="*/ 9 w 36"/>
              <a:gd name="T5" fmla="*/ 30 h 30"/>
              <a:gd name="T6" fmla="*/ 0 w 36"/>
              <a:gd name="T7" fmla="*/ 18 h 30"/>
              <a:gd name="T8" fmla="*/ 27 w 36"/>
              <a:gd name="T9" fmla="*/ 0 h 30"/>
              <a:gd name="T10" fmla="*/ 36 w 36"/>
              <a:gd name="T11" fmla="*/ 14 h 30"/>
            </a:gdLst>
            <a:ahLst/>
            <a:cxnLst>
              <a:cxn ang="0">
                <a:pos x="T0" y="T1"/>
              </a:cxn>
              <a:cxn ang="0">
                <a:pos x="T2" y="T3"/>
              </a:cxn>
              <a:cxn ang="0">
                <a:pos x="T4" y="T5"/>
              </a:cxn>
              <a:cxn ang="0">
                <a:pos x="T6" y="T7"/>
              </a:cxn>
              <a:cxn ang="0">
                <a:pos x="T8" y="T9"/>
              </a:cxn>
              <a:cxn ang="0">
                <a:pos x="T10" y="T11"/>
              </a:cxn>
            </a:cxnLst>
            <a:rect l="0" t="0" r="r" b="b"/>
            <a:pathLst>
              <a:path w="36" h="30">
                <a:moveTo>
                  <a:pt x="36" y="14"/>
                </a:moveTo>
                <a:lnTo>
                  <a:pt x="9" y="30"/>
                </a:lnTo>
                <a:lnTo>
                  <a:pt x="9" y="30"/>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18" name="Freeform 181"/>
          <p:cNvSpPr>
            <a:spLocks/>
          </p:cNvSpPr>
          <p:nvPr userDrawn="1"/>
        </p:nvSpPr>
        <p:spPr bwMode="auto">
          <a:xfrm>
            <a:off x="10676171" y="4727134"/>
            <a:ext cx="54471" cy="48252"/>
          </a:xfrm>
          <a:custGeom>
            <a:avLst/>
            <a:gdLst>
              <a:gd name="T0" fmla="*/ 35 w 35"/>
              <a:gd name="T1" fmla="*/ 13 h 31"/>
              <a:gd name="T2" fmla="*/ 8 w 35"/>
              <a:gd name="T3" fmla="*/ 31 h 31"/>
              <a:gd name="T4" fmla="*/ 8 w 35"/>
              <a:gd name="T5" fmla="*/ 31 h 31"/>
              <a:gd name="T6" fmla="*/ 0 w 35"/>
              <a:gd name="T7" fmla="*/ 17 h 31"/>
              <a:gd name="T8" fmla="*/ 26 w 35"/>
              <a:gd name="T9" fmla="*/ 0 h 31"/>
              <a:gd name="T10" fmla="*/ 35 w 35"/>
              <a:gd name="T11" fmla="*/ 13 h 31"/>
            </a:gdLst>
            <a:ahLst/>
            <a:cxnLst>
              <a:cxn ang="0">
                <a:pos x="T0" y="T1"/>
              </a:cxn>
              <a:cxn ang="0">
                <a:pos x="T2" y="T3"/>
              </a:cxn>
              <a:cxn ang="0">
                <a:pos x="T4" y="T5"/>
              </a:cxn>
              <a:cxn ang="0">
                <a:pos x="T6" y="T7"/>
              </a:cxn>
              <a:cxn ang="0">
                <a:pos x="T8" y="T9"/>
              </a:cxn>
              <a:cxn ang="0">
                <a:pos x="T10" y="T11"/>
              </a:cxn>
            </a:cxnLst>
            <a:rect l="0" t="0" r="r" b="b"/>
            <a:pathLst>
              <a:path w="35" h="31">
                <a:moveTo>
                  <a:pt x="35" y="13"/>
                </a:moveTo>
                <a:lnTo>
                  <a:pt x="8" y="31"/>
                </a:lnTo>
                <a:lnTo>
                  <a:pt x="8" y="31"/>
                </a:lnTo>
                <a:lnTo>
                  <a:pt x="0" y="17"/>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19" name="Freeform 182"/>
          <p:cNvSpPr>
            <a:spLocks/>
          </p:cNvSpPr>
          <p:nvPr userDrawn="1"/>
        </p:nvSpPr>
        <p:spPr bwMode="auto">
          <a:xfrm>
            <a:off x="10646600" y="4683551"/>
            <a:ext cx="56027" cy="48252"/>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20" name="Freeform 183"/>
          <p:cNvSpPr>
            <a:spLocks/>
          </p:cNvSpPr>
          <p:nvPr userDrawn="1"/>
        </p:nvSpPr>
        <p:spPr bwMode="auto">
          <a:xfrm>
            <a:off x="10618587" y="4639969"/>
            <a:ext cx="56027" cy="48252"/>
          </a:xfrm>
          <a:custGeom>
            <a:avLst/>
            <a:gdLst>
              <a:gd name="T0" fmla="*/ 36 w 36"/>
              <a:gd name="T1" fmla="*/ 13 h 31"/>
              <a:gd name="T2" fmla="*/ 9 w 36"/>
              <a:gd name="T3" fmla="*/ 31 h 31"/>
              <a:gd name="T4" fmla="*/ 9 w 36"/>
              <a:gd name="T5" fmla="*/ 31 h 31"/>
              <a:gd name="T6" fmla="*/ 0 w 36"/>
              <a:gd name="T7" fmla="*/ 18 h 31"/>
              <a:gd name="T8" fmla="*/ 0 w 36"/>
              <a:gd name="T9" fmla="*/ 18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8"/>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21" name="Freeform 184"/>
          <p:cNvSpPr>
            <a:spLocks/>
          </p:cNvSpPr>
          <p:nvPr userDrawn="1"/>
        </p:nvSpPr>
        <p:spPr bwMode="auto">
          <a:xfrm>
            <a:off x="10592131" y="4599499"/>
            <a:ext cx="52914" cy="45139"/>
          </a:xfrm>
          <a:custGeom>
            <a:avLst/>
            <a:gdLst>
              <a:gd name="T0" fmla="*/ 34 w 34"/>
              <a:gd name="T1" fmla="*/ 13 h 29"/>
              <a:gd name="T2" fmla="*/ 7 w 34"/>
              <a:gd name="T3" fmla="*/ 29 h 29"/>
              <a:gd name="T4" fmla="*/ 0 w 34"/>
              <a:gd name="T5" fmla="*/ 16 h 29"/>
              <a:gd name="T6" fmla="*/ 26 w 34"/>
              <a:gd name="T7" fmla="*/ 0 h 29"/>
              <a:gd name="T8" fmla="*/ 34 w 34"/>
              <a:gd name="T9" fmla="*/ 13 h 29"/>
            </a:gdLst>
            <a:ahLst/>
            <a:cxnLst>
              <a:cxn ang="0">
                <a:pos x="T0" y="T1"/>
              </a:cxn>
              <a:cxn ang="0">
                <a:pos x="T2" y="T3"/>
              </a:cxn>
              <a:cxn ang="0">
                <a:pos x="T4" y="T5"/>
              </a:cxn>
              <a:cxn ang="0">
                <a:pos x="T6" y="T7"/>
              </a:cxn>
              <a:cxn ang="0">
                <a:pos x="T8" y="T9"/>
              </a:cxn>
            </a:cxnLst>
            <a:rect l="0" t="0" r="r" b="b"/>
            <a:pathLst>
              <a:path w="34" h="29">
                <a:moveTo>
                  <a:pt x="34" y="13"/>
                </a:moveTo>
                <a:lnTo>
                  <a:pt x="7" y="29"/>
                </a:lnTo>
                <a:lnTo>
                  <a:pt x="0" y="16"/>
                </a:lnTo>
                <a:lnTo>
                  <a:pt x="26" y="0"/>
                </a:lnTo>
                <a:lnTo>
                  <a:pt x="34"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22" name="Freeform 185"/>
          <p:cNvSpPr>
            <a:spLocks/>
          </p:cNvSpPr>
          <p:nvPr userDrawn="1"/>
        </p:nvSpPr>
        <p:spPr bwMode="auto">
          <a:xfrm>
            <a:off x="10562561" y="4555917"/>
            <a:ext cx="54471" cy="48252"/>
          </a:xfrm>
          <a:custGeom>
            <a:avLst/>
            <a:gdLst>
              <a:gd name="T0" fmla="*/ 35 w 35"/>
              <a:gd name="T1" fmla="*/ 13 h 31"/>
              <a:gd name="T2" fmla="*/ 9 w 35"/>
              <a:gd name="T3" fmla="*/ 31 h 31"/>
              <a:gd name="T4" fmla="*/ 9 w 35"/>
              <a:gd name="T5" fmla="*/ 31 h 31"/>
              <a:gd name="T6" fmla="*/ 0 w 35"/>
              <a:gd name="T7" fmla="*/ 18 h 31"/>
              <a:gd name="T8" fmla="*/ 0 w 35"/>
              <a:gd name="T9" fmla="*/ 18 h 31"/>
              <a:gd name="T10" fmla="*/ 26 w 35"/>
              <a:gd name="T11" fmla="*/ 0 h 31"/>
              <a:gd name="T12" fmla="*/ 35 w 35"/>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5" h="31">
                <a:moveTo>
                  <a:pt x="35" y="13"/>
                </a:moveTo>
                <a:lnTo>
                  <a:pt x="9" y="31"/>
                </a:lnTo>
                <a:lnTo>
                  <a:pt x="9" y="31"/>
                </a:lnTo>
                <a:lnTo>
                  <a:pt x="0" y="18"/>
                </a:lnTo>
                <a:lnTo>
                  <a:pt x="0" y="18"/>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23" name="Freeform 186"/>
          <p:cNvSpPr>
            <a:spLocks/>
          </p:cNvSpPr>
          <p:nvPr userDrawn="1"/>
        </p:nvSpPr>
        <p:spPr bwMode="auto">
          <a:xfrm>
            <a:off x="10534548" y="4512335"/>
            <a:ext cx="54471" cy="48252"/>
          </a:xfrm>
          <a:custGeom>
            <a:avLst/>
            <a:gdLst>
              <a:gd name="T0" fmla="*/ 35 w 35"/>
              <a:gd name="T1" fmla="*/ 13 h 31"/>
              <a:gd name="T2" fmla="*/ 9 w 35"/>
              <a:gd name="T3" fmla="*/ 31 h 31"/>
              <a:gd name="T4" fmla="*/ 0 w 35"/>
              <a:gd name="T5" fmla="*/ 18 h 31"/>
              <a:gd name="T6" fmla="*/ 27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9" y="31"/>
                </a:lnTo>
                <a:lnTo>
                  <a:pt x="0" y="18"/>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24" name="Freeform 187"/>
          <p:cNvSpPr>
            <a:spLocks/>
          </p:cNvSpPr>
          <p:nvPr userDrawn="1"/>
        </p:nvSpPr>
        <p:spPr bwMode="auto">
          <a:xfrm>
            <a:off x="10506534" y="4468752"/>
            <a:ext cx="54471" cy="48252"/>
          </a:xfrm>
          <a:custGeom>
            <a:avLst/>
            <a:gdLst>
              <a:gd name="T0" fmla="*/ 35 w 35"/>
              <a:gd name="T1" fmla="*/ 14 h 31"/>
              <a:gd name="T2" fmla="*/ 8 w 35"/>
              <a:gd name="T3" fmla="*/ 31 h 31"/>
              <a:gd name="T4" fmla="*/ 0 w 35"/>
              <a:gd name="T5" fmla="*/ 18 h 31"/>
              <a:gd name="T6" fmla="*/ 0 w 35"/>
              <a:gd name="T7" fmla="*/ 18 h 31"/>
              <a:gd name="T8" fmla="*/ 27 w 35"/>
              <a:gd name="T9" fmla="*/ 0 h 31"/>
              <a:gd name="T10" fmla="*/ 35 w 35"/>
              <a:gd name="T11" fmla="*/ 14 h 31"/>
            </a:gdLst>
            <a:ahLst/>
            <a:cxnLst>
              <a:cxn ang="0">
                <a:pos x="T0" y="T1"/>
              </a:cxn>
              <a:cxn ang="0">
                <a:pos x="T2" y="T3"/>
              </a:cxn>
              <a:cxn ang="0">
                <a:pos x="T4" y="T5"/>
              </a:cxn>
              <a:cxn ang="0">
                <a:pos x="T6" y="T7"/>
              </a:cxn>
              <a:cxn ang="0">
                <a:pos x="T8" y="T9"/>
              </a:cxn>
              <a:cxn ang="0">
                <a:pos x="T10" y="T11"/>
              </a:cxn>
            </a:cxnLst>
            <a:rect l="0" t="0" r="r" b="b"/>
            <a:pathLst>
              <a:path w="35" h="31">
                <a:moveTo>
                  <a:pt x="35" y="14"/>
                </a:moveTo>
                <a:lnTo>
                  <a:pt x="8" y="31"/>
                </a:lnTo>
                <a:lnTo>
                  <a:pt x="0" y="18"/>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25" name="Freeform 188"/>
          <p:cNvSpPr>
            <a:spLocks/>
          </p:cNvSpPr>
          <p:nvPr userDrawn="1"/>
        </p:nvSpPr>
        <p:spPr bwMode="auto">
          <a:xfrm>
            <a:off x="10476965" y="4426726"/>
            <a:ext cx="56027" cy="48252"/>
          </a:xfrm>
          <a:custGeom>
            <a:avLst/>
            <a:gdLst>
              <a:gd name="T0" fmla="*/ 36 w 36"/>
              <a:gd name="T1" fmla="*/ 13 h 31"/>
              <a:gd name="T2" fmla="*/ 9 w 36"/>
              <a:gd name="T3" fmla="*/ 31 h 31"/>
              <a:gd name="T4" fmla="*/ 9 w 36"/>
              <a:gd name="T5" fmla="*/ 31 h 31"/>
              <a:gd name="T6" fmla="*/ 0 w 36"/>
              <a:gd name="T7" fmla="*/ 17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26" name="Freeform 189"/>
          <p:cNvSpPr>
            <a:spLocks/>
          </p:cNvSpPr>
          <p:nvPr userDrawn="1"/>
        </p:nvSpPr>
        <p:spPr bwMode="auto">
          <a:xfrm>
            <a:off x="10448952" y="4384701"/>
            <a:ext cx="56027" cy="46695"/>
          </a:xfrm>
          <a:custGeom>
            <a:avLst/>
            <a:gdLst>
              <a:gd name="T0" fmla="*/ 36 w 36"/>
              <a:gd name="T1" fmla="*/ 13 h 30"/>
              <a:gd name="T2" fmla="*/ 9 w 36"/>
              <a:gd name="T3" fmla="*/ 30 h 30"/>
              <a:gd name="T4" fmla="*/ 0 w 36"/>
              <a:gd name="T5" fmla="*/ 17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27" name="Freeform 190"/>
          <p:cNvSpPr>
            <a:spLocks/>
          </p:cNvSpPr>
          <p:nvPr userDrawn="1"/>
        </p:nvSpPr>
        <p:spPr bwMode="auto">
          <a:xfrm>
            <a:off x="10420939" y="4341118"/>
            <a:ext cx="54471" cy="48252"/>
          </a:xfrm>
          <a:custGeom>
            <a:avLst/>
            <a:gdLst>
              <a:gd name="T0" fmla="*/ 35 w 35"/>
              <a:gd name="T1" fmla="*/ 14 h 31"/>
              <a:gd name="T2" fmla="*/ 8 w 35"/>
              <a:gd name="T3" fmla="*/ 31 h 31"/>
              <a:gd name="T4" fmla="*/ 0 w 35"/>
              <a:gd name="T5" fmla="*/ 18 h 31"/>
              <a:gd name="T6" fmla="*/ 27 w 35"/>
              <a:gd name="T7" fmla="*/ 0 h 31"/>
              <a:gd name="T8" fmla="*/ 35 w 35"/>
              <a:gd name="T9" fmla="*/ 14 h 31"/>
            </a:gdLst>
            <a:ahLst/>
            <a:cxnLst>
              <a:cxn ang="0">
                <a:pos x="T0" y="T1"/>
              </a:cxn>
              <a:cxn ang="0">
                <a:pos x="T2" y="T3"/>
              </a:cxn>
              <a:cxn ang="0">
                <a:pos x="T4" y="T5"/>
              </a:cxn>
              <a:cxn ang="0">
                <a:pos x="T6" y="T7"/>
              </a:cxn>
              <a:cxn ang="0">
                <a:pos x="T8" y="T9"/>
              </a:cxn>
            </a:cxnLst>
            <a:rect l="0" t="0" r="r" b="b"/>
            <a:pathLst>
              <a:path w="35" h="31">
                <a:moveTo>
                  <a:pt x="35" y="14"/>
                </a:moveTo>
                <a:lnTo>
                  <a:pt x="8" y="31"/>
                </a:lnTo>
                <a:lnTo>
                  <a:pt x="0" y="18"/>
                </a:lnTo>
                <a:lnTo>
                  <a:pt x="27"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28" name="Freeform 191"/>
          <p:cNvSpPr>
            <a:spLocks/>
          </p:cNvSpPr>
          <p:nvPr userDrawn="1"/>
        </p:nvSpPr>
        <p:spPr bwMode="auto">
          <a:xfrm>
            <a:off x="10391368" y="4299092"/>
            <a:ext cx="56027" cy="48252"/>
          </a:xfrm>
          <a:custGeom>
            <a:avLst/>
            <a:gdLst>
              <a:gd name="T0" fmla="*/ 36 w 36"/>
              <a:gd name="T1" fmla="*/ 13 h 31"/>
              <a:gd name="T2" fmla="*/ 9 w 36"/>
              <a:gd name="T3" fmla="*/ 31 h 31"/>
              <a:gd name="T4" fmla="*/ 9 w 36"/>
              <a:gd name="T5" fmla="*/ 31 h 31"/>
              <a:gd name="T6" fmla="*/ 0 w 36"/>
              <a:gd name="T7" fmla="*/ 17 h 31"/>
              <a:gd name="T8" fmla="*/ 0 w 36"/>
              <a:gd name="T9" fmla="*/ 17 h 31"/>
              <a:gd name="T10" fmla="*/ 27 w 36"/>
              <a:gd name="T11" fmla="*/ 0 h 31"/>
              <a:gd name="T12" fmla="*/ 36 w 36"/>
              <a:gd name="T13" fmla="*/ 13 h 31"/>
            </a:gdLst>
            <a:ahLst/>
            <a:cxnLst>
              <a:cxn ang="0">
                <a:pos x="T0" y="T1"/>
              </a:cxn>
              <a:cxn ang="0">
                <a:pos x="T2" y="T3"/>
              </a:cxn>
              <a:cxn ang="0">
                <a:pos x="T4" y="T5"/>
              </a:cxn>
              <a:cxn ang="0">
                <a:pos x="T6" y="T7"/>
              </a:cxn>
              <a:cxn ang="0">
                <a:pos x="T8" y="T9"/>
              </a:cxn>
              <a:cxn ang="0">
                <a:pos x="T10" y="T11"/>
              </a:cxn>
              <a:cxn ang="0">
                <a:pos x="T12" y="T13"/>
              </a:cxn>
            </a:cxnLst>
            <a:rect l="0" t="0" r="r" b="b"/>
            <a:pathLst>
              <a:path w="36" h="31">
                <a:moveTo>
                  <a:pt x="36" y="13"/>
                </a:moveTo>
                <a:lnTo>
                  <a:pt x="9" y="31"/>
                </a:lnTo>
                <a:lnTo>
                  <a:pt x="9" y="31"/>
                </a:lnTo>
                <a:lnTo>
                  <a:pt x="0" y="17"/>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29" name="Freeform 192"/>
          <p:cNvSpPr>
            <a:spLocks/>
          </p:cNvSpPr>
          <p:nvPr userDrawn="1"/>
        </p:nvSpPr>
        <p:spPr bwMode="auto">
          <a:xfrm>
            <a:off x="10363355" y="4255510"/>
            <a:ext cx="56027" cy="48252"/>
          </a:xfrm>
          <a:custGeom>
            <a:avLst/>
            <a:gdLst>
              <a:gd name="T0" fmla="*/ 36 w 36"/>
              <a:gd name="T1" fmla="*/ 13 h 31"/>
              <a:gd name="T2" fmla="*/ 9 w 36"/>
              <a:gd name="T3" fmla="*/ 31 h 31"/>
              <a:gd name="T4" fmla="*/ 0 w 36"/>
              <a:gd name="T5" fmla="*/ 18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0" name="Freeform 193"/>
          <p:cNvSpPr>
            <a:spLocks/>
          </p:cNvSpPr>
          <p:nvPr userDrawn="1"/>
        </p:nvSpPr>
        <p:spPr bwMode="auto">
          <a:xfrm>
            <a:off x="10336899" y="4213484"/>
            <a:ext cx="52914" cy="46695"/>
          </a:xfrm>
          <a:custGeom>
            <a:avLst/>
            <a:gdLst>
              <a:gd name="T0" fmla="*/ 34 w 34"/>
              <a:gd name="T1" fmla="*/ 12 h 30"/>
              <a:gd name="T2" fmla="*/ 9 w 34"/>
              <a:gd name="T3" fmla="*/ 30 h 30"/>
              <a:gd name="T4" fmla="*/ 9 w 34"/>
              <a:gd name="T5" fmla="*/ 30 h 30"/>
              <a:gd name="T6" fmla="*/ 0 w 34"/>
              <a:gd name="T7" fmla="*/ 17 h 30"/>
              <a:gd name="T8" fmla="*/ 0 w 34"/>
              <a:gd name="T9" fmla="*/ 17 h 30"/>
              <a:gd name="T10" fmla="*/ 26 w 34"/>
              <a:gd name="T11" fmla="*/ 0 h 30"/>
              <a:gd name="T12" fmla="*/ 34 w 34"/>
              <a:gd name="T13" fmla="*/ 12 h 30"/>
            </a:gdLst>
            <a:ahLst/>
            <a:cxnLst>
              <a:cxn ang="0">
                <a:pos x="T0" y="T1"/>
              </a:cxn>
              <a:cxn ang="0">
                <a:pos x="T2" y="T3"/>
              </a:cxn>
              <a:cxn ang="0">
                <a:pos x="T4" y="T5"/>
              </a:cxn>
              <a:cxn ang="0">
                <a:pos x="T6" y="T7"/>
              </a:cxn>
              <a:cxn ang="0">
                <a:pos x="T8" y="T9"/>
              </a:cxn>
              <a:cxn ang="0">
                <a:pos x="T10" y="T11"/>
              </a:cxn>
              <a:cxn ang="0">
                <a:pos x="T12" y="T13"/>
              </a:cxn>
            </a:cxnLst>
            <a:rect l="0" t="0" r="r" b="b"/>
            <a:pathLst>
              <a:path w="34" h="30">
                <a:moveTo>
                  <a:pt x="34" y="12"/>
                </a:moveTo>
                <a:lnTo>
                  <a:pt x="9" y="30"/>
                </a:lnTo>
                <a:lnTo>
                  <a:pt x="9" y="30"/>
                </a:lnTo>
                <a:lnTo>
                  <a:pt x="0" y="17"/>
                </a:lnTo>
                <a:lnTo>
                  <a:pt x="0" y="17"/>
                </a:lnTo>
                <a:lnTo>
                  <a:pt x="26" y="0"/>
                </a:lnTo>
                <a:lnTo>
                  <a:pt x="34"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1" name="Freeform 194"/>
          <p:cNvSpPr>
            <a:spLocks/>
          </p:cNvSpPr>
          <p:nvPr userDrawn="1"/>
        </p:nvSpPr>
        <p:spPr bwMode="auto">
          <a:xfrm>
            <a:off x="10307329" y="4169902"/>
            <a:ext cx="54471" cy="46695"/>
          </a:xfrm>
          <a:custGeom>
            <a:avLst/>
            <a:gdLst>
              <a:gd name="T0" fmla="*/ 35 w 35"/>
              <a:gd name="T1" fmla="*/ 14 h 30"/>
              <a:gd name="T2" fmla="*/ 9 w 35"/>
              <a:gd name="T3" fmla="*/ 30 h 30"/>
              <a:gd name="T4" fmla="*/ 0 w 35"/>
              <a:gd name="T5" fmla="*/ 18 h 30"/>
              <a:gd name="T6" fmla="*/ 26 w 35"/>
              <a:gd name="T7" fmla="*/ 0 h 30"/>
              <a:gd name="T8" fmla="*/ 35 w 35"/>
              <a:gd name="T9" fmla="*/ 14 h 30"/>
            </a:gdLst>
            <a:ahLst/>
            <a:cxnLst>
              <a:cxn ang="0">
                <a:pos x="T0" y="T1"/>
              </a:cxn>
              <a:cxn ang="0">
                <a:pos x="T2" y="T3"/>
              </a:cxn>
              <a:cxn ang="0">
                <a:pos x="T4" y="T5"/>
              </a:cxn>
              <a:cxn ang="0">
                <a:pos x="T6" y="T7"/>
              </a:cxn>
              <a:cxn ang="0">
                <a:pos x="T8" y="T9"/>
              </a:cxn>
            </a:cxnLst>
            <a:rect l="0" t="0" r="r" b="b"/>
            <a:pathLst>
              <a:path w="35" h="30">
                <a:moveTo>
                  <a:pt x="35" y="14"/>
                </a:moveTo>
                <a:lnTo>
                  <a:pt x="9" y="30"/>
                </a:lnTo>
                <a:lnTo>
                  <a:pt x="0" y="18"/>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2" name="Freeform 195"/>
          <p:cNvSpPr>
            <a:spLocks/>
          </p:cNvSpPr>
          <p:nvPr userDrawn="1"/>
        </p:nvSpPr>
        <p:spPr bwMode="auto">
          <a:xfrm>
            <a:off x="10279315" y="4127875"/>
            <a:ext cx="56027" cy="48252"/>
          </a:xfrm>
          <a:custGeom>
            <a:avLst/>
            <a:gdLst>
              <a:gd name="T0" fmla="*/ 36 w 36"/>
              <a:gd name="T1" fmla="*/ 13 h 31"/>
              <a:gd name="T2" fmla="*/ 9 w 36"/>
              <a:gd name="T3" fmla="*/ 31 h 31"/>
              <a:gd name="T4" fmla="*/ 0 w 36"/>
              <a:gd name="T5" fmla="*/ 17 h 31"/>
              <a:gd name="T6" fmla="*/ 0 w 36"/>
              <a:gd name="T7" fmla="*/ 17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0" y="17"/>
                </a:lnTo>
                <a:lnTo>
                  <a:pt x="0" y="17"/>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3" name="Freeform 196"/>
          <p:cNvSpPr>
            <a:spLocks/>
          </p:cNvSpPr>
          <p:nvPr userDrawn="1"/>
        </p:nvSpPr>
        <p:spPr bwMode="auto">
          <a:xfrm>
            <a:off x="10251302" y="4084293"/>
            <a:ext cx="56027" cy="48252"/>
          </a:xfrm>
          <a:custGeom>
            <a:avLst/>
            <a:gdLst>
              <a:gd name="T0" fmla="*/ 36 w 36"/>
              <a:gd name="T1" fmla="*/ 13 h 31"/>
              <a:gd name="T2" fmla="*/ 9 w 36"/>
              <a:gd name="T3" fmla="*/ 31 h 31"/>
              <a:gd name="T4" fmla="*/ 9 w 36"/>
              <a:gd name="T5" fmla="*/ 31 h 31"/>
              <a:gd name="T6" fmla="*/ 0 w 36"/>
              <a:gd name="T7" fmla="*/ 18 h 31"/>
              <a:gd name="T8" fmla="*/ 27 w 36"/>
              <a:gd name="T9" fmla="*/ 0 h 31"/>
              <a:gd name="T10" fmla="*/ 36 w 36"/>
              <a:gd name="T11" fmla="*/ 13 h 31"/>
            </a:gdLst>
            <a:ahLst/>
            <a:cxnLst>
              <a:cxn ang="0">
                <a:pos x="T0" y="T1"/>
              </a:cxn>
              <a:cxn ang="0">
                <a:pos x="T2" y="T3"/>
              </a:cxn>
              <a:cxn ang="0">
                <a:pos x="T4" y="T5"/>
              </a:cxn>
              <a:cxn ang="0">
                <a:pos x="T6" y="T7"/>
              </a:cxn>
              <a:cxn ang="0">
                <a:pos x="T8" y="T9"/>
              </a:cxn>
              <a:cxn ang="0">
                <a:pos x="T10" y="T11"/>
              </a:cxn>
            </a:cxnLst>
            <a:rect l="0" t="0" r="r" b="b"/>
            <a:pathLst>
              <a:path w="36" h="31">
                <a:moveTo>
                  <a:pt x="36" y="13"/>
                </a:moveTo>
                <a:lnTo>
                  <a:pt x="9" y="31"/>
                </a:lnTo>
                <a:lnTo>
                  <a:pt x="9" y="31"/>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4" name="Freeform 197"/>
          <p:cNvSpPr>
            <a:spLocks/>
          </p:cNvSpPr>
          <p:nvPr userDrawn="1"/>
        </p:nvSpPr>
        <p:spPr bwMode="auto">
          <a:xfrm>
            <a:off x="10223289" y="4040711"/>
            <a:ext cx="54471" cy="48252"/>
          </a:xfrm>
          <a:custGeom>
            <a:avLst/>
            <a:gdLst>
              <a:gd name="T0" fmla="*/ 35 w 35"/>
              <a:gd name="T1" fmla="*/ 14 h 31"/>
              <a:gd name="T2" fmla="*/ 8 w 35"/>
              <a:gd name="T3" fmla="*/ 31 h 31"/>
              <a:gd name="T4" fmla="*/ 0 w 35"/>
              <a:gd name="T5" fmla="*/ 18 h 31"/>
              <a:gd name="T6" fmla="*/ 26 w 35"/>
              <a:gd name="T7" fmla="*/ 0 h 31"/>
              <a:gd name="T8" fmla="*/ 35 w 35"/>
              <a:gd name="T9" fmla="*/ 14 h 31"/>
            </a:gdLst>
            <a:ahLst/>
            <a:cxnLst>
              <a:cxn ang="0">
                <a:pos x="T0" y="T1"/>
              </a:cxn>
              <a:cxn ang="0">
                <a:pos x="T2" y="T3"/>
              </a:cxn>
              <a:cxn ang="0">
                <a:pos x="T4" y="T5"/>
              </a:cxn>
              <a:cxn ang="0">
                <a:pos x="T6" y="T7"/>
              </a:cxn>
              <a:cxn ang="0">
                <a:pos x="T8" y="T9"/>
              </a:cxn>
            </a:cxnLst>
            <a:rect l="0" t="0" r="r" b="b"/>
            <a:pathLst>
              <a:path w="35" h="31">
                <a:moveTo>
                  <a:pt x="35" y="14"/>
                </a:moveTo>
                <a:lnTo>
                  <a:pt x="8" y="31"/>
                </a:lnTo>
                <a:lnTo>
                  <a:pt x="0" y="18"/>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5" name="Freeform 198"/>
          <p:cNvSpPr>
            <a:spLocks/>
          </p:cNvSpPr>
          <p:nvPr userDrawn="1"/>
        </p:nvSpPr>
        <p:spPr bwMode="auto">
          <a:xfrm>
            <a:off x="10193719" y="4000241"/>
            <a:ext cx="56027" cy="46695"/>
          </a:xfrm>
          <a:custGeom>
            <a:avLst/>
            <a:gdLst>
              <a:gd name="T0" fmla="*/ 36 w 36"/>
              <a:gd name="T1" fmla="*/ 12 h 30"/>
              <a:gd name="T2" fmla="*/ 9 w 36"/>
              <a:gd name="T3" fmla="*/ 30 h 30"/>
              <a:gd name="T4" fmla="*/ 0 w 36"/>
              <a:gd name="T5" fmla="*/ 16 h 30"/>
              <a:gd name="T6" fmla="*/ 27 w 36"/>
              <a:gd name="T7" fmla="*/ 0 h 30"/>
              <a:gd name="T8" fmla="*/ 36 w 36"/>
              <a:gd name="T9" fmla="*/ 12 h 30"/>
            </a:gdLst>
            <a:ahLst/>
            <a:cxnLst>
              <a:cxn ang="0">
                <a:pos x="T0" y="T1"/>
              </a:cxn>
              <a:cxn ang="0">
                <a:pos x="T2" y="T3"/>
              </a:cxn>
              <a:cxn ang="0">
                <a:pos x="T4" y="T5"/>
              </a:cxn>
              <a:cxn ang="0">
                <a:pos x="T6" y="T7"/>
              </a:cxn>
              <a:cxn ang="0">
                <a:pos x="T8" y="T9"/>
              </a:cxn>
            </a:cxnLst>
            <a:rect l="0" t="0" r="r" b="b"/>
            <a:pathLst>
              <a:path w="36" h="30">
                <a:moveTo>
                  <a:pt x="36" y="12"/>
                </a:moveTo>
                <a:lnTo>
                  <a:pt x="9" y="30"/>
                </a:lnTo>
                <a:lnTo>
                  <a:pt x="0" y="16"/>
                </a:lnTo>
                <a:lnTo>
                  <a:pt x="27" y="0"/>
                </a:lnTo>
                <a:lnTo>
                  <a:pt x="36" y="12"/>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6" name="Freeform 199"/>
          <p:cNvSpPr>
            <a:spLocks/>
          </p:cNvSpPr>
          <p:nvPr userDrawn="1"/>
        </p:nvSpPr>
        <p:spPr bwMode="auto">
          <a:xfrm>
            <a:off x="10165706" y="3956659"/>
            <a:ext cx="56027" cy="46695"/>
          </a:xfrm>
          <a:custGeom>
            <a:avLst/>
            <a:gdLst>
              <a:gd name="T0" fmla="*/ 36 w 36"/>
              <a:gd name="T1" fmla="*/ 13 h 30"/>
              <a:gd name="T2" fmla="*/ 9 w 36"/>
              <a:gd name="T3" fmla="*/ 30 h 30"/>
              <a:gd name="T4" fmla="*/ 0 w 36"/>
              <a:gd name="T5" fmla="*/ 18 h 30"/>
              <a:gd name="T6" fmla="*/ 27 w 36"/>
              <a:gd name="T7" fmla="*/ 0 h 30"/>
              <a:gd name="T8" fmla="*/ 36 w 36"/>
              <a:gd name="T9" fmla="*/ 13 h 30"/>
            </a:gdLst>
            <a:ahLst/>
            <a:cxnLst>
              <a:cxn ang="0">
                <a:pos x="T0" y="T1"/>
              </a:cxn>
              <a:cxn ang="0">
                <a:pos x="T2" y="T3"/>
              </a:cxn>
              <a:cxn ang="0">
                <a:pos x="T4" y="T5"/>
              </a:cxn>
              <a:cxn ang="0">
                <a:pos x="T6" y="T7"/>
              </a:cxn>
              <a:cxn ang="0">
                <a:pos x="T8" y="T9"/>
              </a:cxn>
            </a:cxnLst>
            <a:rect l="0" t="0" r="r" b="b"/>
            <a:pathLst>
              <a:path w="36" h="30">
                <a:moveTo>
                  <a:pt x="36" y="13"/>
                </a:moveTo>
                <a:lnTo>
                  <a:pt x="9" y="30"/>
                </a:lnTo>
                <a:lnTo>
                  <a:pt x="0" y="18"/>
                </a:lnTo>
                <a:lnTo>
                  <a:pt x="27" y="0"/>
                </a:lnTo>
                <a:lnTo>
                  <a:pt x="36"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7" name="Freeform 200"/>
          <p:cNvSpPr>
            <a:spLocks/>
          </p:cNvSpPr>
          <p:nvPr userDrawn="1"/>
        </p:nvSpPr>
        <p:spPr bwMode="auto">
          <a:xfrm>
            <a:off x="10137693" y="3913077"/>
            <a:ext cx="54471" cy="48252"/>
          </a:xfrm>
          <a:custGeom>
            <a:avLst/>
            <a:gdLst>
              <a:gd name="T0" fmla="*/ 35 w 35"/>
              <a:gd name="T1" fmla="*/ 13 h 31"/>
              <a:gd name="T2" fmla="*/ 8 w 35"/>
              <a:gd name="T3" fmla="*/ 31 h 31"/>
              <a:gd name="T4" fmla="*/ 0 w 35"/>
              <a:gd name="T5" fmla="*/ 18 h 31"/>
              <a:gd name="T6" fmla="*/ 27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8" y="31"/>
                </a:lnTo>
                <a:lnTo>
                  <a:pt x="0" y="18"/>
                </a:lnTo>
                <a:lnTo>
                  <a:pt x="27"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8" name="Freeform 201"/>
          <p:cNvSpPr>
            <a:spLocks/>
          </p:cNvSpPr>
          <p:nvPr userDrawn="1"/>
        </p:nvSpPr>
        <p:spPr bwMode="auto">
          <a:xfrm>
            <a:off x="10109680" y="3869494"/>
            <a:ext cx="54471" cy="48252"/>
          </a:xfrm>
          <a:custGeom>
            <a:avLst/>
            <a:gdLst>
              <a:gd name="T0" fmla="*/ 35 w 35"/>
              <a:gd name="T1" fmla="*/ 14 h 31"/>
              <a:gd name="T2" fmla="*/ 8 w 35"/>
              <a:gd name="T3" fmla="*/ 31 h 31"/>
              <a:gd name="T4" fmla="*/ 8 w 35"/>
              <a:gd name="T5" fmla="*/ 31 h 31"/>
              <a:gd name="T6" fmla="*/ 0 w 35"/>
              <a:gd name="T7" fmla="*/ 18 h 31"/>
              <a:gd name="T8" fmla="*/ 0 w 35"/>
              <a:gd name="T9" fmla="*/ 18 h 31"/>
              <a:gd name="T10" fmla="*/ 26 w 35"/>
              <a:gd name="T11" fmla="*/ 0 h 31"/>
              <a:gd name="T12" fmla="*/ 35 w 35"/>
              <a:gd name="T13" fmla="*/ 14 h 31"/>
            </a:gdLst>
            <a:ahLst/>
            <a:cxnLst>
              <a:cxn ang="0">
                <a:pos x="T0" y="T1"/>
              </a:cxn>
              <a:cxn ang="0">
                <a:pos x="T2" y="T3"/>
              </a:cxn>
              <a:cxn ang="0">
                <a:pos x="T4" y="T5"/>
              </a:cxn>
              <a:cxn ang="0">
                <a:pos x="T6" y="T7"/>
              </a:cxn>
              <a:cxn ang="0">
                <a:pos x="T8" y="T9"/>
              </a:cxn>
              <a:cxn ang="0">
                <a:pos x="T10" y="T11"/>
              </a:cxn>
              <a:cxn ang="0">
                <a:pos x="T12" y="T13"/>
              </a:cxn>
            </a:cxnLst>
            <a:rect l="0" t="0" r="r" b="b"/>
            <a:pathLst>
              <a:path w="35" h="31">
                <a:moveTo>
                  <a:pt x="35" y="14"/>
                </a:moveTo>
                <a:lnTo>
                  <a:pt x="8" y="31"/>
                </a:lnTo>
                <a:lnTo>
                  <a:pt x="8" y="31"/>
                </a:lnTo>
                <a:lnTo>
                  <a:pt x="0" y="18"/>
                </a:lnTo>
                <a:lnTo>
                  <a:pt x="0" y="18"/>
                </a:lnTo>
                <a:lnTo>
                  <a:pt x="26" y="0"/>
                </a:lnTo>
                <a:lnTo>
                  <a:pt x="35"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39" name="Freeform 202"/>
          <p:cNvSpPr>
            <a:spLocks/>
          </p:cNvSpPr>
          <p:nvPr userDrawn="1"/>
        </p:nvSpPr>
        <p:spPr bwMode="auto">
          <a:xfrm>
            <a:off x="10081667" y="3827469"/>
            <a:ext cx="54471" cy="48252"/>
          </a:xfrm>
          <a:custGeom>
            <a:avLst/>
            <a:gdLst>
              <a:gd name="T0" fmla="*/ 35 w 35"/>
              <a:gd name="T1" fmla="*/ 13 h 31"/>
              <a:gd name="T2" fmla="*/ 9 w 35"/>
              <a:gd name="T3" fmla="*/ 31 h 31"/>
              <a:gd name="T4" fmla="*/ 0 w 35"/>
              <a:gd name="T5" fmla="*/ 17 h 31"/>
              <a:gd name="T6" fmla="*/ 26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9" y="31"/>
                </a:lnTo>
                <a:lnTo>
                  <a:pt x="0" y="17"/>
                </a:lnTo>
                <a:lnTo>
                  <a:pt x="26" y="0"/>
                </a:lnTo>
                <a:lnTo>
                  <a:pt x="35"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40" name="Freeform 203"/>
          <p:cNvSpPr>
            <a:spLocks/>
          </p:cNvSpPr>
          <p:nvPr userDrawn="1"/>
        </p:nvSpPr>
        <p:spPr bwMode="auto">
          <a:xfrm>
            <a:off x="10053654" y="3785442"/>
            <a:ext cx="52914" cy="46695"/>
          </a:xfrm>
          <a:custGeom>
            <a:avLst/>
            <a:gdLst>
              <a:gd name="T0" fmla="*/ 34 w 34"/>
              <a:gd name="T1" fmla="*/ 13 h 30"/>
              <a:gd name="T2" fmla="*/ 8 w 34"/>
              <a:gd name="T3" fmla="*/ 30 h 30"/>
              <a:gd name="T4" fmla="*/ 0 w 34"/>
              <a:gd name="T5" fmla="*/ 17 h 30"/>
              <a:gd name="T6" fmla="*/ 27 w 34"/>
              <a:gd name="T7" fmla="*/ 0 h 30"/>
              <a:gd name="T8" fmla="*/ 34 w 34"/>
              <a:gd name="T9" fmla="*/ 13 h 30"/>
            </a:gdLst>
            <a:ahLst/>
            <a:cxnLst>
              <a:cxn ang="0">
                <a:pos x="T0" y="T1"/>
              </a:cxn>
              <a:cxn ang="0">
                <a:pos x="T2" y="T3"/>
              </a:cxn>
              <a:cxn ang="0">
                <a:pos x="T4" y="T5"/>
              </a:cxn>
              <a:cxn ang="0">
                <a:pos x="T6" y="T7"/>
              </a:cxn>
              <a:cxn ang="0">
                <a:pos x="T8" y="T9"/>
              </a:cxn>
            </a:cxnLst>
            <a:rect l="0" t="0" r="r" b="b"/>
            <a:pathLst>
              <a:path w="34" h="30">
                <a:moveTo>
                  <a:pt x="34" y="13"/>
                </a:moveTo>
                <a:lnTo>
                  <a:pt x="8" y="30"/>
                </a:lnTo>
                <a:lnTo>
                  <a:pt x="0" y="17"/>
                </a:lnTo>
                <a:lnTo>
                  <a:pt x="27" y="0"/>
                </a:lnTo>
                <a:lnTo>
                  <a:pt x="34" y="13"/>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41" name="Freeform 204"/>
          <p:cNvSpPr>
            <a:spLocks/>
          </p:cNvSpPr>
          <p:nvPr userDrawn="1"/>
        </p:nvSpPr>
        <p:spPr bwMode="auto">
          <a:xfrm>
            <a:off x="10024083" y="3741860"/>
            <a:ext cx="56027" cy="48252"/>
          </a:xfrm>
          <a:custGeom>
            <a:avLst/>
            <a:gdLst>
              <a:gd name="T0" fmla="*/ 36 w 36"/>
              <a:gd name="T1" fmla="*/ 14 h 31"/>
              <a:gd name="T2" fmla="*/ 9 w 36"/>
              <a:gd name="T3" fmla="*/ 31 h 31"/>
              <a:gd name="T4" fmla="*/ 0 w 36"/>
              <a:gd name="T5" fmla="*/ 18 h 31"/>
              <a:gd name="T6" fmla="*/ 27 w 36"/>
              <a:gd name="T7" fmla="*/ 0 h 31"/>
              <a:gd name="T8" fmla="*/ 36 w 36"/>
              <a:gd name="T9" fmla="*/ 14 h 31"/>
            </a:gdLst>
            <a:ahLst/>
            <a:cxnLst>
              <a:cxn ang="0">
                <a:pos x="T0" y="T1"/>
              </a:cxn>
              <a:cxn ang="0">
                <a:pos x="T2" y="T3"/>
              </a:cxn>
              <a:cxn ang="0">
                <a:pos x="T4" y="T5"/>
              </a:cxn>
              <a:cxn ang="0">
                <a:pos x="T6" y="T7"/>
              </a:cxn>
              <a:cxn ang="0">
                <a:pos x="T8" y="T9"/>
              </a:cxn>
            </a:cxnLst>
            <a:rect l="0" t="0" r="r" b="b"/>
            <a:pathLst>
              <a:path w="36" h="31">
                <a:moveTo>
                  <a:pt x="36" y="14"/>
                </a:moveTo>
                <a:lnTo>
                  <a:pt x="9" y="31"/>
                </a:lnTo>
                <a:lnTo>
                  <a:pt x="0" y="18"/>
                </a:lnTo>
                <a:lnTo>
                  <a:pt x="27" y="0"/>
                </a:lnTo>
                <a:lnTo>
                  <a:pt x="36" y="14"/>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 name="Freeform 206"/>
          <p:cNvSpPr>
            <a:spLocks/>
          </p:cNvSpPr>
          <p:nvPr userDrawn="1"/>
        </p:nvSpPr>
        <p:spPr bwMode="auto">
          <a:xfrm>
            <a:off x="9996069" y="3699835"/>
            <a:ext cx="56027" cy="48252"/>
          </a:xfrm>
          <a:custGeom>
            <a:avLst/>
            <a:gdLst>
              <a:gd name="T0" fmla="*/ 36 w 36"/>
              <a:gd name="T1" fmla="*/ 13 h 31"/>
              <a:gd name="T2" fmla="*/ 9 w 36"/>
              <a:gd name="T3" fmla="*/ 31 h 31"/>
              <a:gd name="T4" fmla="*/ 0 w 36"/>
              <a:gd name="T5" fmla="*/ 17 h 31"/>
              <a:gd name="T6" fmla="*/ 27 w 36"/>
              <a:gd name="T7" fmla="*/ 0 h 31"/>
              <a:gd name="T8" fmla="*/ 36 w 36"/>
              <a:gd name="T9" fmla="*/ 13 h 31"/>
            </a:gdLst>
            <a:ahLst/>
            <a:cxnLst>
              <a:cxn ang="0">
                <a:pos x="T0" y="T1"/>
              </a:cxn>
              <a:cxn ang="0">
                <a:pos x="T2" y="T3"/>
              </a:cxn>
              <a:cxn ang="0">
                <a:pos x="T4" y="T5"/>
              </a:cxn>
              <a:cxn ang="0">
                <a:pos x="T6" y="T7"/>
              </a:cxn>
              <a:cxn ang="0">
                <a:pos x="T8" y="T9"/>
              </a:cxn>
            </a:cxnLst>
            <a:rect l="0" t="0" r="r" b="b"/>
            <a:pathLst>
              <a:path w="36" h="31">
                <a:moveTo>
                  <a:pt x="36" y="13"/>
                </a:moveTo>
                <a:lnTo>
                  <a:pt x="9" y="31"/>
                </a:lnTo>
                <a:lnTo>
                  <a:pt x="0" y="17"/>
                </a:lnTo>
                <a:lnTo>
                  <a:pt x="27" y="0"/>
                </a:lnTo>
                <a:lnTo>
                  <a:pt x="36"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0" name="Freeform 207"/>
          <p:cNvSpPr>
            <a:spLocks/>
          </p:cNvSpPr>
          <p:nvPr userDrawn="1"/>
        </p:nvSpPr>
        <p:spPr bwMode="auto">
          <a:xfrm>
            <a:off x="9968056" y="3656252"/>
            <a:ext cx="54471" cy="48252"/>
          </a:xfrm>
          <a:custGeom>
            <a:avLst/>
            <a:gdLst>
              <a:gd name="T0" fmla="*/ 35 w 35"/>
              <a:gd name="T1" fmla="*/ 13 h 31"/>
              <a:gd name="T2" fmla="*/ 9 w 35"/>
              <a:gd name="T3" fmla="*/ 31 h 31"/>
              <a:gd name="T4" fmla="*/ 0 w 35"/>
              <a:gd name="T5" fmla="*/ 18 h 31"/>
              <a:gd name="T6" fmla="*/ 27 w 35"/>
              <a:gd name="T7" fmla="*/ 0 h 31"/>
              <a:gd name="T8" fmla="*/ 35 w 35"/>
              <a:gd name="T9" fmla="*/ 13 h 31"/>
            </a:gdLst>
            <a:ahLst/>
            <a:cxnLst>
              <a:cxn ang="0">
                <a:pos x="T0" y="T1"/>
              </a:cxn>
              <a:cxn ang="0">
                <a:pos x="T2" y="T3"/>
              </a:cxn>
              <a:cxn ang="0">
                <a:pos x="T4" y="T5"/>
              </a:cxn>
              <a:cxn ang="0">
                <a:pos x="T6" y="T7"/>
              </a:cxn>
              <a:cxn ang="0">
                <a:pos x="T8" y="T9"/>
              </a:cxn>
            </a:cxnLst>
            <a:rect l="0" t="0" r="r" b="b"/>
            <a:pathLst>
              <a:path w="35" h="31">
                <a:moveTo>
                  <a:pt x="35" y="13"/>
                </a:moveTo>
                <a:lnTo>
                  <a:pt x="9" y="31"/>
                </a:lnTo>
                <a:lnTo>
                  <a:pt x="0" y="18"/>
                </a:lnTo>
                <a:lnTo>
                  <a:pt x="27" y="0"/>
                </a:lnTo>
                <a:lnTo>
                  <a:pt x="35"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1" name="Freeform 208"/>
          <p:cNvSpPr>
            <a:spLocks/>
          </p:cNvSpPr>
          <p:nvPr userDrawn="1"/>
        </p:nvSpPr>
        <p:spPr bwMode="auto">
          <a:xfrm>
            <a:off x="9938486" y="3614226"/>
            <a:ext cx="56027" cy="46695"/>
          </a:xfrm>
          <a:custGeom>
            <a:avLst/>
            <a:gdLst>
              <a:gd name="T0" fmla="*/ 36 w 36"/>
              <a:gd name="T1" fmla="*/ 12 h 30"/>
              <a:gd name="T2" fmla="*/ 9 w 36"/>
              <a:gd name="T3" fmla="*/ 30 h 30"/>
              <a:gd name="T4" fmla="*/ 0 w 36"/>
              <a:gd name="T5" fmla="*/ 17 h 30"/>
              <a:gd name="T6" fmla="*/ 27 w 36"/>
              <a:gd name="T7" fmla="*/ 0 h 30"/>
              <a:gd name="T8" fmla="*/ 36 w 36"/>
              <a:gd name="T9" fmla="*/ 12 h 30"/>
            </a:gdLst>
            <a:ahLst/>
            <a:cxnLst>
              <a:cxn ang="0">
                <a:pos x="T0" y="T1"/>
              </a:cxn>
              <a:cxn ang="0">
                <a:pos x="T2" y="T3"/>
              </a:cxn>
              <a:cxn ang="0">
                <a:pos x="T4" y="T5"/>
              </a:cxn>
              <a:cxn ang="0">
                <a:pos x="T6" y="T7"/>
              </a:cxn>
              <a:cxn ang="0">
                <a:pos x="T8" y="T9"/>
              </a:cxn>
            </a:cxnLst>
            <a:rect l="0" t="0" r="r" b="b"/>
            <a:pathLst>
              <a:path w="36" h="30">
                <a:moveTo>
                  <a:pt x="36" y="12"/>
                </a:moveTo>
                <a:lnTo>
                  <a:pt x="9" y="30"/>
                </a:lnTo>
                <a:lnTo>
                  <a:pt x="0" y="17"/>
                </a:lnTo>
                <a:lnTo>
                  <a:pt x="27" y="0"/>
                </a:lnTo>
                <a:lnTo>
                  <a:pt x="36" y="12"/>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2" name="Freeform 209"/>
          <p:cNvSpPr>
            <a:spLocks/>
          </p:cNvSpPr>
          <p:nvPr userDrawn="1"/>
        </p:nvSpPr>
        <p:spPr bwMode="auto">
          <a:xfrm>
            <a:off x="9910473" y="3572200"/>
            <a:ext cx="56027" cy="45139"/>
          </a:xfrm>
          <a:custGeom>
            <a:avLst/>
            <a:gdLst>
              <a:gd name="T0" fmla="*/ 36 w 36"/>
              <a:gd name="T1" fmla="*/ 13 h 29"/>
              <a:gd name="T2" fmla="*/ 9 w 36"/>
              <a:gd name="T3" fmla="*/ 29 h 29"/>
              <a:gd name="T4" fmla="*/ 0 w 36"/>
              <a:gd name="T5" fmla="*/ 17 h 29"/>
              <a:gd name="T6" fmla="*/ 27 w 36"/>
              <a:gd name="T7" fmla="*/ 0 h 29"/>
              <a:gd name="T8" fmla="*/ 36 w 36"/>
              <a:gd name="T9" fmla="*/ 13 h 29"/>
            </a:gdLst>
            <a:ahLst/>
            <a:cxnLst>
              <a:cxn ang="0">
                <a:pos x="T0" y="T1"/>
              </a:cxn>
              <a:cxn ang="0">
                <a:pos x="T2" y="T3"/>
              </a:cxn>
              <a:cxn ang="0">
                <a:pos x="T4" y="T5"/>
              </a:cxn>
              <a:cxn ang="0">
                <a:pos x="T6" y="T7"/>
              </a:cxn>
              <a:cxn ang="0">
                <a:pos x="T8" y="T9"/>
              </a:cxn>
            </a:cxnLst>
            <a:rect l="0" t="0" r="r" b="b"/>
            <a:pathLst>
              <a:path w="36" h="29">
                <a:moveTo>
                  <a:pt x="36" y="13"/>
                </a:moveTo>
                <a:lnTo>
                  <a:pt x="9" y="29"/>
                </a:lnTo>
                <a:lnTo>
                  <a:pt x="0" y="17"/>
                </a:lnTo>
                <a:lnTo>
                  <a:pt x="27" y="0"/>
                </a:lnTo>
                <a:lnTo>
                  <a:pt x="36"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3" name="Freeform 210"/>
          <p:cNvSpPr>
            <a:spLocks/>
          </p:cNvSpPr>
          <p:nvPr userDrawn="1"/>
        </p:nvSpPr>
        <p:spPr bwMode="auto">
          <a:xfrm>
            <a:off x="10746203" y="4745811"/>
            <a:ext cx="48246" cy="45139"/>
          </a:xfrm>
          <a:custGeom>
            <a:avLst/>
            <a:gdLst>
              <a:gd name="T0" fmla="*/ 31 w 31"/>
              <a:gd name="T1" fmla="*/ 13 h 29"/>
              <a:gd name="T2" fmla="*/ 9 w 31"/>
              <a:gd name="T3" fmla="*/ 29 h 29"/>
              <a:gd name="T4" fmla="*/ 0 w 31"/>
              <a:gd name="T5" fmla="*/ 15 h 29"/>
              <a:gd name="T6" fmla="*/ 23 w 31"/>
              <a:gd name="T7" fmla="*/ 0 h 29"/>
              <a:gd name="T8" fmla="*/ 31 w 31"/>
              <a:gd name="T9" fmla="*/ 13 h 29"/>
            </a:gdLst>
            <a:ahLst/>
            <a:cxnLst>
              <a:cxn ang="0">
                <a:pos x="T0" y="T1"/>
              </a:cxn>
              <a:cxn ang="0">
                <a:pos x="T2" y="T3"/>
              </a:cxn>
              <a:cxn ang="0">
                <a:pos x="T4" y="T5"/>
              </a:cxn>
              <a:cxn ang="0">
                <a:pos x="T6" y="T7"/>
              </a:cxn>
              <a:cxn ang="0">
                <a:pos x="T8" y="T9"/>
              </a:cxn>
            </a:cxnLst>
            <a:rect l="0" t="0" r="r" b="b"/>
            <a:pathLst>
              <a:path w="31" h="29">
                <a:moveTo>
                  <a:pt x="31" y="13"/>
                </a:moveTo>
                <a:lnTo>
                  <a:pt x="9" y="29"/>
                </a:lnTo>
                <a:lnTo>
                  <a:pt x="0" y="15"/>
                </a:lnTo>
                <a:lnTo>
                  <a:pt x="23" y="0"/>
                </a:lnTo>
                <a:lnTo>
                  <a:pt x="31"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4" name="Freeform 211"/>
          <p:cNvSpPr>
            <a:spLocks/>
          </p:cNvSpPr>
          <p:nvPr userDrawn="1"/>
        </p:nvSpPr>
        <p:spPr bwMode="auto">
          <a:xfrm>
            <a:off x="10716633" y="4702229"/>
            <a:ext cx="49801" cy="45139"/>
          </a:xfrm>
          <a:custGeom>
            <a:avLst/>
            <a:gdLst>
              <a:gd name="T0" fmla="*/ 32 w 32"/>
              <a:gd name="T1" fmla="*/ 13 h 29"/>
              <a:gd name="T2" fmla="*/ 9 w 32"/>
              <a:gd name="T3" fmla="*/ 29 h 29"/>
              <a:gd name="T4" fmla="*/ 0 w 32"/>
              <a:gd name="T5" fmla="*/ 16 h 29"/>
              <a:gd name="T6" fmla="*/ 23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9" y="29"/>
                </a:lnTo>
                <a:lnTo>
                  <a:pt x="0" y="16"/>
                </a:lnTo>
                <a:lnTo>
                  <a:pt x="23" y="0"/>
                </a:lnTo>
                <a:lnTo>
                  <a:pt x="32"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5" name="Freeform 212"/>
          <p:cNvSpPr>
            <a:spLocks/>
          </p:cNvSpPr>
          <p:nvPr userDrawn="1"/>
        </p:nvSpPr>
        <p:spPr bwMode="auto">
          <a:xfrm>
            <a:off x="10688620" y="4658647"/>
            <a:ext cx="49801" cy="45139"/>
          </a:xfrm>
          <a:custGeom>
            <a:avLst/>
            <a:gdLst>
              <a:gd name="T0" fmla="*/ 32 w 32"/>
              <a:gd name="T1" fmla="*/ 14 h 29"/>
              <a:gd name="T2" fmla="*/ 9 w 32"/>
              <a:gd name="T3" fmla="*/ 29 h 29"/>
              <a:gd name="T4" fmla="*/ 0 w 32"/>
              <a:gd name="T5" fmla="*/ 16 h 29"/>
              <a:gd name="T6" fmla="*/ 23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3" y="0"/>
                </a:lnTo>
                <a:lnTo>
                  <a:pt x="32" y="14"/>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6" name="Freeform 213"/>
          <p:cNvSpPr>
            <a:spLocks/>
          </p:cNvSpPr>
          <p:nvPr userDrawn="1"/>
        </p:nvSpPr>
        <p:spPr bwMode="auto">
          <a:xfrm>
            <a:off x="10660607" y="4618178"/>
            <a:ext cx="51358" cy="42026"/>
          </a:xfrm>
          <a:custGeom>
            <a:avLst/>
            <a:gdLst>
              <a:gd name="T0" fmla="*/ 33 w 33"/>
              <a:gd name="T1" fmla="*/ 13 h 27"/>
              <a:gd name="T2" fmla="*/ 9 w 33"/>
              <a:gd name="T3" fmla="*/ 27 h 27"/>
              <a:gd name="T4" fmla="*/ 0 w 33"/>
              <a:gd name="T5" fmla="*/ 14 h 27"/>
              <a:gd name="T6" fmla="*/ 24 w 33"/>
              <a:gd name="T7" fmla="*/ 0 h 27"/>
              <a:gd name="T8" fmla="*/ 33 w 33"/>
              <a:gd name="T9" fmla="*/ 13 h 27"/>
            </a:gdLst>
            <a:ahLst/>
            <a:cxnLst>
              <a:cxn ang="0">
                <a:pos x="T0" y="T1"/>
              </a:cxn>
              <a:cxn ang="0">
                <a:pos x="T2" y="T3"/>
              </a:cxn>
              <a:cxn ang="0">
                <a:pos x="T4" y="T5"/>
              </a:cxn>
              <a:cxn ang="0">
                <a:pos x="T6" y="T7"/>
              </a:cxn>
              <a:cxn ang="0">
                <a:pos x="T8" y="T9"/>
              </a:cxn>
            </a:cxnLst>
            <a:rect l="0" t="0" r="r" b="b"/>
            <a:pathLst>
              <a:path w="33" h="27">
                <a:moveTo>
                  <a:pt x="33" y="13"/>
                </a:moveTo>
                <a:lnTo>
                  <a:pt x="9" y="27"/>
                </a:lnTo>
                <a:lnTo>
                  <a:pt x="0" y="14"/>
                </a:lnTo>
                <a:lnTo>
                  <a:pt x="24" y="0"/>
                </a:lnTo>
                <a:lnTo>
                  <a:pt x="33"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7" name="Freeform 214"/>
          <p:cNvSpPr>
            <a:spLocks/>
          </p:cNvSpPr>
          <p:nvPr userDrawn="1"/>
        </p:nvSpPr>
        <p:spPr bwMode="auto">
          <a:xfrm>
            <a:off x="10632593" y="4554360"/>
            <a:ext cx="80927" cy="65374"/>
          </a:xfrm>
          <a:custGeom>
            <a:avLst/>
            <a:gdLst>
              <a:gd name="T0" fmla="*/ 52 w 52"/>
              <a:gd name="T1" fmla="*/ 13 h 42"/>
              <a:gd name="T2" fmla="*/ 8 w 52"/>
              <a:gd name="T3" fmla="*/ 42 h 42"/>
              <a:gd name="T4" fmla="*/ 0 w 52"/>
              <a:gd name="T5" fmla="*/ 29 h 42"/>
              <a:gd name="T6" fmla="*/ 44 w 52"/>
              <a:gd name="T7" fmla="*/ 0 h 42"/>
              <a:gd name="T8" fmla="*/ 52 w 52"/>
              <a:gd name="T9" fmla="*/ 13 h 42"/>
            </a:gdLst>
            <a:ahLst/>
            <a:cxnLst>
              <a:cxn ang="0">
                <a:pos x="T0" y="T1"/>
              </a:cxn>
              <a:cxn ang="0">
                <a:pos x="T2" y="T3"/>
              </a:cxn>
              <a:cxn ang="0">
                <a:pos x="T4" y="T5"/>
              </a:cxn>
              <a:cxn ang="0">
                <a:pos x="T6" y="T7"/>
              </a:cxn>
              <a:cxn ang="0">
                <a:pos x="T8" y="T9"/>
              </a:cxn>
            </a:cxnLst>
            <a:rect l="0" t="0" r="r" b="b"/>
            <a:pathLst>
              <a:path w="52" h="42">
                <a:moveTo>
                  <a:pt x="52" y="13"/>
                </a:moveTo>
                <a:lnTo>
                  <a:pt x="8" y="42"/>
                </a:lnTo>
                <a:lnTo>
                  <a:pt x="0" y="29"/>
                </a:lnTo>
                <a:lnTo>
                  <a:pt x="44" y="0"/>
                </a:lnTo>
                <a:lnTo>
                  <a:pt x="52"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8" name="Freeform 215"/>
          <p:cNvSpPr>
            <a:spLocks/>
          </p:cNvSpPr>
          <p:nvPr userDrawn="1"/>
        </p:nvSpPr>
        <p:spPr bwMode="auto">
          <a:xfrm>
            <a:off x="10603023" y="4531012"/>
            <a:ext cx="51358" cy="45139"/>
          </a:xfrm>
          <a:custGeom>
            <a:avLst/>
            <a:gdLst>
              <a:gd name="T0" fmla="*/ 33 w 33"/>
              <a:gd name="T1" fmla="*/ 14 h 29"/>
              <a:gd name="T2" fmla="*/ 9 w 33"/>
              <a:gd name="T3" fmla="*/ 29 h 29"/>
              <a:gd name="T4" fmla="*/ 0 w 33"/>
              <a:gd name="T5" fmla="*/ 16 h 29"/>
              <a:gd name="T6" fmla="*/ 24 w 33"/>
              <a:gd name="T7" fmla="*/ 0 h 29"/>
              <a:gd name="T8" fmla="*/ 33 w 33"/>
              <a:gd name="T9" fmla="*/ 14 h 29"/>
            </a:gdLst>
            <a:ahLst/>
            <a:cxnLst>
              <a:cxn ang="0">
                <a:pos x="T0" y="T1"/>
              </a:cxn>
              <a:cxn ang="0">
                <a:pos x="T2" y="T3"/>
              </a:cxn>
              <a:cxn ang="0">
                <a:pos x="T4" y="T5"/>
              </a:cxn>
              <a:cxn ang="0">
                <a:pos x="T6" y="T7"/>
              </a:cxn>
              <a:cxn ang="0">
                <a:pos x="T8" y="T9"/>
              </a:cxn>
            </a:cxnLst>
            <a:rect l="0" t="0" r="r" b="b"/>
            <a:pathLst>
              <a:path w="33" h="29">
                <a:moveTo>
                  <a:pt x="33" y="14"/>
                </a:moveTo>
                <a:lnTo>
                  <a:pt x="9" y="29"/>
                </a:lnTo>
                <a:lnTo>
                  <a:pt x="0" y="16"/>
                </a:lnTo>
                <a:lnTo>
                  <a:pt x="24" y="0"/>
                </a:lnTo>
                <a:lnTo>
                  <a:pt x="33" y="14"/>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19" name="Freeform 216"/>
          <p:cNvSpPr>
            <a:spLocks/>
          </p:cNvSpPr>
          <p:nvPr userDrawn="1"/>
        </p:nvSpPr>
        <p:spPr bwMode="auto">
          <a:xfrm>
            <a:off x="10576567" y="4488986"/>
            <a:ext cx="49801" cy="43582"/>
          </a:xfrm>
          <a:custGeom>
            <a:avLst/>
            <a:gdLst>
              <a:gd name="T0" fmla="*/ 32 w 32"/>
              <a:gd name="T1" fmla="*/ 13 h 28"/>
              <a:gd name="T2" fmla="*/ 8 w 32"/>
              <a:gd name="T3" fmla="*/ 28 h 28"/>
              <a:gd name="T4" fmla="*/ 0 w 32"/>
              <a:gd name="T5" fmla="*/ 15 h 28"/>
              <a:gd name="T6" fmla="*/ 23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8" y="28"/>
                </a:lnTo>
                <a:lnTo>
                  <a:pt x="0" y="15"/>
                </a:lnTo>
                <a:lnTo>
                  <a:pt x="23" y="0"/>
                </a:lnTo>
                <a:lnTo>
                  <a:pt x="32"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20" name="Freeform 217"/>
          <p:cNvSpPr>
            <a:spLocks/>
          </p:cNvSpPr>
          <p:nvPr userDrawn="1"/>
        </p:nvSpPr>
        <p:spPr bwMode="auto">
          <a:xfrm>
            <a:off x="10548554" y="4446961"/>
            <a:ext cx="48246" cy="43582"/>
          </a:xfrm>
          <a:custGeom>
            <a:avLst/>
            <a:gdLst>
              <a:gd name="T0" fmla="*/ 31 w 31"/>
              <a:gd name="T1" fmla="*/ 12 h 28"/>
              <a:gd name="T2" fmla="*/ 8 w 31"/>
              <a:gd name="T3" fmla="*/ 28 h 28"/>
              <a:gd name="T4" fmla="*/ 0 w 31"/>
              <a:gd name="T5" fmla="*/ 14 h 28"/>
              <a:gd name="T6" fmla="*/ 23 w 31"/>
              <a:gd name="T7" fmla="*/ 0 h 28"/>
              <a:gd name="T8" fmla="*/ 31 w 31"/>
              <a:gd name="T9" fmla="*/ 12 h 28"/>
            </a:gdLst>
            <a:ahLst/>
            <a:cxnLst>
              <a:cxn ang="0">
                <a:pos x="T0" y="T1"/>
              </a:cxn>
              <a:cxn ang="0">
                <a:pos x="T2" y="T3"/>
              </a:cxn>
              <a:cxn ang="0">
                <a:pos x="T4" y="T5"/>
              </a:cxn>
              <a:cxn ang="0">
                <a:pos x="T6" y="T7"/>
              </a:cxn>
              <a:cxn ang="0">
                <a:pos x="T8" y="T9"/>
              </a:cxn>
            </a:cxnLst>
            <a:rect l="0" t="0" r="r" b="b"/>
            <a:pathLst>
              <a:path w="31" h="28">
                <a:moveTo>
                  <a:pt x="31" y="12"/>
                </a:moveTo>
                <a:lnTo>
                  <a:pt x="8" y="28"/>
                </a:lnTo>
                <a:lnTo>
                  <a:pt x="0" y="14"/>
                </a:lnTo>
                <a:lnTo>
                  <a:pt x="23" y="0"/>
                </a:lnTo>
                <a:lnTo>
                  <a:pt x="31" y="12"/>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21" name="Freeform 218"/>
          <p:cNvSpPr>
            <a:spLocks/>
          </p:cNvSpPr>
          <p:nvPr userDrawn="1"/>
        </p:nvSpPr>
        <p:spPr bwMode="auto">
          <a:xfrm>
            <a:off x="10518984" y="4403378"/>
            <a:ext cx="49801" cy="43582"/>
          </a:xfrm>
          <a:custGeom>
            <a:avLst/>
            <a:gdLst>
              <a:gd name="T0" fmla="*/ 32 w 32"/>
              <a:gd name="T1" fmla="*/ 14 h 28"/>
              <a:gd name="T2" fmla="*/ 9 w 32"/>
              <a:gd name="T3" fmla="*/ 28 h 28"/>
              <a:gd name="T4" fmla="*/ 0 w 32"/>
              <a:gd name="T5" fmla="*/ 15 h 28"/>
              <a:gd name="T6" fmla="*/ 23 w 32"/>
              <a:gd name="T7" fmla="*/ 0 h 28"/>
              <a:gd name="T8" fmla="*/ 32 w 32"/>
              <a:gd name="T9" fmla="*/ 14 h 28"/>
            </a:gdLst>
            <a:ahLst/>
            <a:cxnLst>
              <a:cxn ang="0">
                <a:pos x="T0" y="T1"/>
              </a:cxn>
              <a:cxn ang="0">
                <a:pos x="T2" y="T3"/>
              </a:cxn>
              <a:cxn ang="0">
                <a:pos x="T4" y="T5"/>
              </a:cxn>
              <a:cxn ang="0">
                <a:pos x="T6" y="T7"/>
              </a:cxn>
              <a:cxn ang="0">
                <a:pos x="T8" y="T9"/>
              </a:cxn>
            </a:cxnLst>
            <a:rect l="0" t="0" r="r" b="b"/>
            <a:pathLst>
              <a:path w="32" h="28">
                <a:moveTo>
                  <a:pt x="32" y="14"/>
                </a:moveTo>
                <a:lnTo>
                  <a:pt x="9" y="28"/>
                </a:lnTo>
                <a:lnTo>
                  <a:pt x="0" y="15"/>
                </a:lnTo>
                <a:lnTo>
                  <a:pt x="23" y="0"/>
                </a:lnTo>
                <a:lnTo>
                  <a:pt x="32" y="14"/>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22" name="Freeform 219"/>
          <p:cNvSpPr>
            <a:spLocks/>
          </p:cNvSpPr>
          <p:nvPr userDrawn="1"/>
        </p:nvSpPr>
        <p:spPr bwMode="auto">
          <a:xfrm>
            <a:off x="10490970" y="4339561"/>
            <a:ext cx="80927" cy="65374"/>
          </a:xfrm>
          <a:custGeom>
            <a:avLst/>
            <a:gdLst>
              <a:gd name="T0" fmla="*/ 52 w 52"/>
              <a:gd name="T1" fmla="*/ 13 h 42"/>
              <a:gd name="T2" fmla="*/ 9 w 52"/>
              <a:gd name="T3" fmla="*/ 42 h 42"/>
              <a:gd name="T4" fmla="*/ 0 w 52"/>
              <a:gd name="T5" fmla="*/ 29 h 42"/>
              <a:gd name="T6" fmla="*/ 43 w 52"/>
              <a:gd name="T7" fmla="*/ 0 h 42"/>
              <a:gd name="T8" fmla="*/ 52 w 52"/>
              <a:gd name="T9" fmla="*/ 13 h 42"/>
            </a:gdLst>
            <a:ahLst/>
            <a:cxnLst>
              <a:cxn ang="0">
                <a:pos x="T0" y="T1"/>
              </a:cxn>
              <a:cxn ang="0">
                <a:pos x="T2" y="T3"/>
              </a:cxn>
              <a:cxn ang="0">
                <a:pos x="T4" y="T5"/>
              </a:cxn>
              <a:cxn ang="0">
                <a:pos x="T6" y="T7"/>
              </a:cxn>
              <a:cxn ang="0">
                <a:pos x="T8" y="T9"/>
              </a:cxn>
            </a:cxnLst>
            <a:rect l="0" t="0" r="r" b="b"/>
            <a:pathLst>
              <a:path w="52" h="42">
                <a:moveTo>
                  <a:pt x="52" y="13"/>
                </a:moveTo>
                <a:lnTo>
                  <a:pt x="9" y="42"/>
                </a:lnTo>
                <a:lnTo>
                  <a:pt x="0" y="29"/>
                </a:lnTo>
                <a:lnTo>
                  <a:pt x="43" y="0"/>
                </a:lnTo>
                <a:lnTo>
                  <a:pt x="52"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23" name="Freeform 220"/>
          <p:cNvSpPr>
            <a:spLocks/>
          </p:cNvSpPr>
          <p:nvPr userDrawn="1"/>
        </p:nvSpPr>
        <p:spPr bwMode="auto">
          <a:xfrm>
            <a:off x="10462957" y="4317770"/>
            <a:ext cx="48246" cy="45139"/>
          </a:xfrm>
          <a:custGeom>
            <a:avLst/>
            <a:gdLst>
              <a:gd name="T0" fmla="*/ 31 w 31"/>
              <a:gd name="T1" fmla="*/ 13 h 29"/>
              <a:gd name="T2" fmla="*/ 8 w 31"/>
              <a:gd name="T3" fmla="*/ 29 h 29"/>
              <a:gd name="T4" fmla="*/ 0 w 31"/>
              <a:gd name="T5" fmla="*/ 15 h 29"/>
              <a:gd name="T6" fmla="*/ 23 w 31"/>
              <a:gd name="T7" fmla="*/ 0 h 29"/>
              <a:gd name="T8" fmla="*/ 31 w 31"/>
              <a:gd name="T9" fmla="*/ 13 h 29"/>
            </a:gdLst>
            <a:ahLst/>
            <a:cxnLst>
              <a:cxn ang="0">
                <a:pos x="T0" y="T1"/>
              </a:cxn>
              <a:cxn ang="0">
                <a:pos x="T2" y="T3"/>
              </a:cxn>
              <a:cxn ang="0">
                <a:pos x="T4" y="T5"/>
              </a:cxn>
              <a:cxn ang="0">
                <a:pos x="T6" y="T7"/>
              </a:cxn>
              <a:cxn ang="0">
                <a:pos x="T8" y="T9"/>
              </a:cxn>
            </a:cxnLst>
            <a:rect l="0" t="0" r="r" b="b"/>
            <a:pathLst>
              <a:path w="31" h="29">
                <a:moveTo>
                  <a:pt x="31" y="13"/>
                </a:moveTo>
                <a:lnTo>
                  <a:pt x="8" y="29"/>
                </a:lnTo>
                <a:lnTo>
                  <a:pt x="0" y="15"/>
                </a:lnTo>
                <a:lnTo>
                  <a:pt x="23" y="0"/>
                </a:lnTo>
                <a:lnTo>
                  <a:pt x="31"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24" name="Freeform 221"/>
          <p:cNvSpPr>
            <a:spLocks/>
          </p:cNvSpPr>
          <p:nvPr userDrawn="1"/>
        </p:nvSpPr>
        <p:spPr bwMode="auto">
          <a:xfrm>
            <a:off x="10433388" y="4274187"/>
            <a:ext cx="49801" cy="45139"/>
          </a:xfrm>
          <a:custGeom>
            <a:avLst/>
            <a:gdLst>
              <a:gd name="T0" fmla="*/ 32 w 32"/>
              <a:gd name="T1" fmla="*/ 13 h 29"/>
              <a:gd name="T2" fmla="*/ 9 w 32"/>
              <a:gd name="T3" fmla="*/ 29 h 29"/>
              <a:gd name="T4" fmla="*/ 0 w 32"/>
              <a:gd name="T5" fmla="*/ 16 h 29"/>
              <a:gd name="T6" fmla="*/ 24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9" y="29"/>
                </a:lnTo>
                <a:lnTo>
                  <a:pt x="0" y="16"/>
                </a:lnTo>
                <a:lnTo>
                  <a:pt x="24" y="0"/>
                </a:lnTo>
                <a:lnTo>
                  <a:pt x="32"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25" name="Freeform 222"/>
          <p:cNvSpPr>
            <a:spLocks/>
          </p:cNvSpPr>
          <p:nvPr userDrawn="1"/>
        </p:nvSpPr>
        <p:spPr bwMode="auto">
          <a:xfrm>
            <a:off x="10405375" y="4232162"/>
            <a:ext cx="51358" cy="43582"/>
          </a:xfrm>
          <a:custGeom>
            <a:avLst/>
            <a:gdLst>
              <a:gd name="T0" fmla="*/ 33 w 33"/>
              <a:gd name="T1" fmla="*/ 13 h 28"/>
              <a:gd name="T2" fmla="*/ 9 w 33"/>
              <a:gd name="T3" fmla="*/ 28 h 28"/>
              <a:gd name="T4" fmla="*/ 0 w 33"/>
              <a:gd name="T5" fmla="*/ 15 h 28"/>
              <a:gd name="T6" fmla="*/ 24 w 33"/>
              <a:gd name="T7" fmla="*/ 0 h 28"/>
              <a:gd name="T8" fmla="*/ 33 w 33"/>
              <a:gd name="T9" fmla="*/ 13 h 28"/>
            </a:gdLst>
            <a:ahLst/>
            <a:cxnLst>
              <a:cxn ang="0">
                <a:pos x="T0" y="T1"/>
              </a:cxn>
              <a:cxn ang="0">
                <a:pos x="T2" y="T3"/>
              </a:cxn>
              <a:cxn ang="0">
                <a:pos x="T4" y="T5"/>
              </a:cxn>
              <a:cxn ang="0">
                <a:pos x="T6" y="T7"/>
              </a:cxn>
              <a:cxn ang="0">
                <a:pos x="T8" y="T9"/>
              </a:cxn>
            </a:cxnLst>
            <a:rect l="0" t="0" r="r" b="b"/>
            <a:pathLst>
              <a:path w="33" h="28">
                <a:moveTo>
                  <a:pt x="33" y="13"/>
                </a:moveTo>
                <a:lnTo>
                  <a:pt x="9" y="28"/>
                </a:lnTo>
                <a:lnTo>
                  <a:pt x="0" y="15"/>
                </a:lnTo>
                <a:lnTo>
                  <a:pt x="24" y="0"/>
                </a:lnTo>
                <a:lnTo>
                  <a:pt x="33"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26" name="Freeform 223"/>
          <p:cNvSpPr>
            <a:spLocks/>
          </p:cNvSpPr>
          <p:nvPr userDrawn="1"/>
        </p:nvSpPr>
        <p:spPr bwMode="auto">
          <a:xfrm>
            <a:off x="10377361" y="4190136"/>
            <a:ext cx="49801" cy="42026"/>
          </a:xfrm>
          <a:custGeom>
            <a:avLst/>
            <a:gdLst>
              <a:gd name="T0" fmla="*/ 32 w 32"/>
              <a:gd name="T1" fmla="*/ 13 h 27"/>
              <a:gd name="T2" fmla="*/ 8 w 32"/>
              <a:gd name="T3" fmla="*/ 27 h 27"/>
              <a:gd name="T4" fmla="*/ 0 w 32"/>
              <a:gd name="T5" fmla="*/ 15 h 27"/>
              <a:gd name="T6" fmla="*/ 24 w 32"/>
              <a:gd name="T7" fmla="*/ 0 h 27"/>
              <a:gd name="T8" fmla="*/ 32 w 32"/>
              <a:gd name="T9" fmla="*/ 13 h 27"/>
            </a:gdLst>
            <a:ahLst/>
            <a:cxnLst>
              <a:cxn ang="0">
                <a:pos x="T0" y="T1"/>
              </a:cxn>
              <a:cxn ang="0">
                <a:pos x="T2" y="T3"/>
              </a:cxn>
              <a:cxn ang="0">
                <a:pos x="T4" y="T5"/>
              </a:cxn>
              <a:cxn ang="0">
                <a:pos x="T6" y="T7"/>
              </a:cxn>
              <a:cxn ang="0">
                <a:pos x="T8" y="T9"/>
              </a:cxn>
            </a:cxnLst>
            <a:rect l="0" t="0" r="r" b="b"/>
            <a:pathLst>
              <a:path w="32" h="27">
                <a:moveTo>
                  <a:pt x="32" y="13"/>
                </a:moveTo>
                <a:lnTo>
                  <a:pt x="8" y="27"/>
                </a:lnTo>
                <a:lnTo>
                  <a:pt x="0" y="15"/>
                </a:lnTo>
                <a:lnTo>
                  <a:pt x="24" y="0"/>
                </a:lnTo>
                <a:lnTo>
                  <a:pt x="32"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27" name="Freeform 224"/>
          <p:cNvSpPr>
            <a:spLocks/>
          </p:cNvSpPr>
          <p:nvPr userDrawn="1"/>
        </p:nvSpPr>
        <p:spPr bwMode="auto">
          <a:xfrm>
            <a:off x="10347791" y="4126319"/>
            <a:ext cx="82484" cy="65374"/>
          </a:xfrm>
          <a:custGeom>
            <a:avLst/>
            <a:gdLst>
              <a:gd name="T0" fmla="*/ 53 w 53"/>
              <a:gd name="T1" fmla="*/ 13 h 42"/>
              <a:gd name="T2" fmla="*/ 9 w 53"/>
              <a:gd name="T3" fmla="*/ 42 h 42"/>
              <a:gd name="T4" fmla="*/ 0 w 53"/>
              <a:gd name="T5" fmla="*/ 28 h 42"/>
              <a:gd name="T6" fmla="*/ 44 w 53"/>
              <a:gd name="T7" fmla="*/ 0 h 42"/>
              <a:gd name="T8" fmla="*/ 53 w 53"/>
              <a:gd name="T9" fmla="*/ 13 h 42"/>
            </a:gdLst>
            <a:ahLst/>
            <a:cxnLst>
              <a:cxn ang="0">
                <a:pos x="T0" y="T1"/>
              </a:cxn>
              <a:cxn ang="0">
                <a:pos x="T2" y="T3"/>
              </a:cxn>
              <a:cxn ang="0">
                <a:pos x="T4" y="T5"/>
              </a:cxn>
              <a:cxn ang="0">
                <a:pos x="T6" y="T7"/>
              </a:cxn>
              <a:cxn ang="0">
                <a:pos x="T8" y="T9"/>
              </a:cxn>
            </a:cxnLst>
            <a:rect l="0" t="0" r="r" b="b"/>
            <a:pathLst>
              <a:path w="53" h="42">
                <a:moveTo>
                  <a:pt x="53" y="13"/>
                </a:moveTo>
                <a:lnTo>
                  <a:pt x="9" y="42"/>
                </a:lnTo>
                <a:lnTo>
                  <a:pt x="0" y="28"/>
                </a:lnTo>
                <a:lnTo>
                  <a:pt x="44" y="0"/>
                </a:lnTo>
                <a:lnTo>
                  <a:pt x="53"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28" name="Freeform 225"/>
          <p:cNvSpPr>
            <a:spLocks/>
          </p:cNvSpPr>
          <p:nvPr userDrawn="1"/>
        </p:nvSpPr>
        <p:spPr bwMode="auto">
          <a:xfrm>
            <a:off x="10321335" y="4102971"/>
            <a:ext cx="49801" cy="45139"/>
          </a:xfrm>
          <a:custGeom>
            <a:avLst/>
            <a:gdLst>
              <a:gd name="T0" fmla="*/ 32 w 32"/>
              <a:gd name="T1" fmla="*/ 13 h 29"/>
              <a:gd name="T2" fmla="*/ 9 w 32"/>
              <a:gd name="T3" fmla="*/ 29 h 29"/>
              <a:gd name="T4" fmla="*/ 0 w 32"/>
              <a:gd name="T5" fmla="*/ 16 h 29"/>
              <a:gd name="T6" fmla="*/ 23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9" y="29"/>
                </a:lnTo>
                <a:lnTo>
                  <a:pt x="0" y="16"/>
                </a:lnTo>
                <a:lnTo>
                  <a:pt x="23" y="0"/>
                </a:lnTo>
                <a:lnTo>
                  <a:pt x="32"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29" name="Freeform 226"/>
          <p:cNvSpPr>
            <a:spLocks/>
          </p:cNvSpPr>
          <p:nvPr userDrawn="1"/>
        </p:nvSpPr>
        <p:spPr bwMode="auto">
          <a:xfrm>
            <a:off x="10293322" y="4059388"/>
            <a:ext cx="49801" cy="45139"/>
          </a:xfrm>
          <a:custGeom>
            <a:avLst/>
            <a:gdLst>
              <a:gd name="T0" fmla="*/ 32 w 32"/>
              <a:gd name="T1" fmla="*/ 14 h 29"/>
              <a:gd name="T2" fmla="*/ 9 w 32"/>
              <a:gd name="T3" fmla="*/ 29 h 29"/>
              <a:gd name="T4" fmla="*/ 0 w 32"/>
              <a:gd name="T5" fmla="*/ 16 h 29"/>
              <a:gd name="T6" fmla="*/ 23 w 32"/>
              <a:gd name="T7" fmla="*/ 0 h 29"/>
              <a:gd name="T8" fmla="*/ 32 w 32"/>
              <a:gd name="T9" fmla="*/ 14 h 29"/>
            </a:gdLst>
            <a:ahLst/>
            <a:cxnLst>
              <a:cxn ang="0">
                <a:pos x="T0" y="T1"/>
              </a:cxn>
              <a:cxn ang="0">
                <a:pos x="T2" y="T3"/>
              </a:cxn>
              <a:cxn ang="0">
                <a:pos x="T4" y="T5"/>
              </a:cxn>
              <a:cxn ang="0">
                <a:pos x="T6" y="T7"/>
              </a:cxn>
              <a:cxn ang="0">
                <a:pos x="T8" y="T9"/>
              </a:cxn>
            </a:cxnLst>
            <a:rect l="0" t="0" r="r" b="b"/>
            <a:pathLst>
              <a:path w="32" h="29">
                <a:moveTo>
                  <a:pt x="32" y="14"/>
                </a:moveTo>
                <a:lnTo>
                  <a:pt x="9" y="29"/>
                </a:lnTo>
                <a:lnTo>
                  <a:pt x="0" y="16"/>
                </a:lnTo>
                <a:lnTo>
                  <a:pt x="23" y="0"/>
                </a:lnTo>
                <a:lnTo>
                  <a:pt x="32" y="14"/>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30" name="Freeform 227"/>
          <p:cNvSpPr>
            <a:spLocks/>
          </p:cNvSpPr>
          <p:nvPr userDrawn="1"/>
        </p:nvSpPr>
        <p:spPr bwMode="auto">
          <a:xfrm>
            <a:off x="10263752" y="4018919"/>
            <a:ext cx="49801" cy="43582"/>
          </a:xfrm>
          <a:custGeom>
            <a:avLst/>
            <a:gdLst>
              <a:gd name="T0" fmla="*/ 32 w 32"/>
              <a:gd name="T1" fmla="*/ 13 h 28"/>
              <a:gd name="T2" fmla="*/ 9 w 32"/>
              <a:gd name="T3" fmla="*/ 28 h 28"/>
              <a:gd name="T4" fmla="*/ 0 w 32"/>
              <a:gd name="T5" fmla="*/ 14 h 28"/>
              <a:gd name="T6" fmla="*/ 23 w 32"/>
              <a:gd name="T7" fmla="*/ 0 h 28"/>
              <a:gd name="T8" fmla="*/ 32 w 32"/>
              <a:gd name="T9" fmla="*/ 13 h 28"/>
            </a:gdLst>
            <a:ahLst/>
            <a:cxnLst>
              <a:cxn ang="0">
                <a:pos x="T0" y="T1"/>
              </a:cxn>
              <a:cxn ang="0">
                <a:pos x="T2" y="T3"/>
              </a:cxn>
              <a:cxn ang="0">
                <a:pos x="T4" y="T5"/>
              </a:cxn>
              <a:cxn ang="0">
                <a:pos x="T6" y="T7"/>
              </a:cxn>
              <a:cxn ang="0">
                <a:pos x="T8" y="T9"/>
              </a:cxn>
            </a:cxnLst>
            <a:rect l="0" t="0" r="r" b="b"/>
            <a:pathLst>
              <a:path w="32" h="28">
                <a:moveTo>
                  <a:pt x="32" y="13"/>
                </a:moveTo>
                <a:lnTo>
                  <a:pt x="9" y="28"/>
                </a:lnTo>
                <a:lnTo>
                  <a:pt x="0" y="14"/>
                </a:lnTo>
                <a:lnTo>
                  <a:pt x="23" y="0"/>
                </a:lnTo>
                <a:lnTo>
                  <a:pt x="32"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31" name="Freeform 228"/>
          <p:cNvSpPr>
            <a:spLocks/>
          </p:cNvSpPr>
          <p:nvPr userDrawn="1"/>
        </p:nvSpPr>
        <p:spPr bwMode="auto">
          <a:xfrm>
            <a:off x="10235738" y="3975337"/>
            <a:ext cx="49801" cy="45139"/>
          </a:xfrm>
          <a:custGeom>
            <a:avLst/>
            <a:gdLst>
              <a:gd name="T0" fmla="*/ 32 w 32"/>
              <a:gd name="T1" fmla="*/ 13 h 29"/>
              <a:gd name="T2" fmla="*/ 9 w 32"/>
              <a:gd name="T3" fmla="*/ 29 h 29"/>
              <a:gd name="T4" fmla="*/ 0 w 32"/>
              <a:gd name="T5" fmla="*/ 16 h 29"/>
              <a:gd name="T6" fmla="*/ 23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9" y="29"/>
                </a:lnTo>
                <a:lnTo>
                  <a:pt x="0" y="16"/>
                </a:lnTo>
                <a:lnTo>
                  <a:pt x="23" y="0"/>
                </a:lnTo>
                <a:lnTo>
                  <a:pt x="32"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32" name="Freeform 229"/>
          <p:cNvSpPr>
            <a:spLocks/>
          </p:cNvSpPr>
          <p:nvPr userDrawn="1"/>
        </p:nvSpPr>
        <p:spPr bwMode="auto">
          <a:xfrm>
            <a:off x="10207725" y="3911520"/>
            <a:ext cx="82484" cy="65374"/>
          </a:xfrm>
          <a:custGeom>
            <a:avLst/>
            <a:gdLst>
              <a:gd name="T0" fmla="*/ 53 w 53"/>
              <a:gd name="T1" fmla="*/ 13 h 42"/>
              <a:gd name="T2" fmla="*/ 9 w 53"/>
              <a:gd name="T3" fmla="*/ 42 h 42"/>
              <a:gd name="T4" fmla="*/ 0 w 53"/>
              <a:gd name="T5" fmla="*/ 29 h 42"/>
              <a:gd name="T6" fmla="*/ 44 w 53"/>
              <a:gd name="T7" fmla="*/ 0 h 42"/>
              <a:gd name="T8" fmla="*/ 53 w 53"/>
              <a:gd name="T9" fmla="*/ 13 h 42"/>
            </a:gdLst>
            <a:ahLst/>
            <a:cxnLst>
              <a:cxn ang="0">
                <a:pos x="T0" y="T1"/>
              </a:cxn>
              <a:cxn ang="0">
                <a:pos x="T2" y="T3"/>
              </a:cxn>
              <a:cxn ang="0">
                <a:pos x="T4" y="T5"/>
              </a:cxn>
              <a:cxn ang="0">
                <a:pos x="T6" y="T7"/>
              </a:cxn>
              <a:cxn ang="0">
                <a:pos x="T8" y="T9"/>
              </a:cxn>
            </a:cxnLst>
            <a:rect l="0" t="0" r="r" b="b"/>
            <a:pathLst>
              <a:path w="53" h="42">
                <a:moveTo>
                  <a:pt x="53" y="13"/>
                </a:moveTo>
                <a:lnTo>
                  <a:pt x="9" y="42"/>
                </a:lnTo>
                <a:lnTo>
                  <a:pt x="0" y="29"/>
                </a:lnTo>
                <a:lnTo>
                  <a:pt x="44" y="0"/>
                </a:lnTo>
                <a:lnTo>
                  <a:pt x="53"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33" name="Freeform 230"/>
          <p:cNvSpPr>
            <a:spLocks/>
          </p:cNvSpPr>
          <p:nvPr userDrawn="1"/>
        </p:nvSpPr>
        <p:spPr bwMode="auto">
          <a:xfrm>
            <a:off x="10179712" y="3889729"/>
            <a:ext cx="48246" cy="43582"/>
          </a:xfrm>
          <a:custGeom>
            <a:avLst/>
            <a:gdLst>
              <a:gd name="T0" fmla="*/ 31 w 31"/>
              <a:gd name="T1" fmla="*/ 13 h 28"/>
              <a:gd name="T2" fmla="*/ 8 w 31"/>
              <a:gd name="T3" fmla="*/ 28 h 28"/>
              <a:gd name="T4" fmla="*/ 0 w 31"/>
              <a:gd name="T5" fmla="*/ 15 h 28"/>
              <a:gd name="T6" fmla="*/ 24 w 31"/>
              <a:gd name="T7" fmla="*/ 0 h 28"/>
              <a:gd name="T8" fmla="*/ 31 w 31"/>
              <a:gd name="T9" fmla="*/ 13 h 28"/>
            </a:gdLst>
            <a:ahLst/>
            <a:cxnLst>
              <a:cxn ang="0">
                <a:pos x="T0" y="T1"/>
              </a:cxn>
              <a:cxn ang="0">
                <a:pos x="T2" y="T3"/>
              </a:cxn>
              <a:cxn ang="0">
                <a:pos x="T4" y="T5"/>
              </a:cxn>
              <a:cxn ang="0">
                <a:pos x="T6" y="T7"/>
              </a:cxn>
              <a:cxn ang="0">
                <a:pos x="T8" y="T9"/>
              </a:cxn>
            </a:cxnLst>
            <a:rect l="0" t="0" r="r" b="b"/>
            <a:pathLst>
              <a:path w="31" h="28">
                <a:moveTo>
                  <a:pt x="31" y="13"/>
                </a:moveTo>
                <a:lnTo>
                  <a:pt x="8" y="28"/>
                </a:lnTo>
                <a:lnTo>
                  <a:pt x="0" y="15"/>
                </a:lnTo>
                <a:lnTo>
                  <a:pt x="24" y="0"/>
                </a:lnTo>
                <a:lnTo>
                  <a:pt x="31"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34" name="Freeform 231"/>
          <p:cNvSpPr>
            <a:spLocks/>
          </p:cNvSpPr>
          <p:nvPr userDrawn="1"/>
        </p:nvSpPr>
        <p:spPr bwMode="auto">
          <a:xfrm>
            <a:off x="10150143" y="3847702"/>
            <a:ext cx="51358" cy="43582"/>
          </a:xfrm>
          <a:custGeom>
            <a:avLst/>
            <a:gdLst>
              <a:gd name="T0" fmla="*/ 33 w 33"/>
              <a:gd name="T1" fmla="*/ 12 h 28"/>
              <a:gd name="T2" fmla="*/ 9 w 33"/>
              <a:gd name="T3" fmla="*/ 28 h 28"/>
              <a:gd name="T4" fmla="*/ 0 w 33"/>
              <a:gd name="T5" fmla="*/ 14 h 28"/>
              <a:gd name="T6" fmla="*/ 24 w 33"/>
              <a:gd name="T7" fmla="*/ 0 h 28"/>
              <a:gd name="T8" fmla="*/ 33 w 33"/>
              <a:gd name="T9" fmla="*/ 12 h 28"/>
            </a:gdLst>
            <a:ahLst/>
            <a:cxnLst>
              <a:cxn ang="0">
                <a:pos x="T0" y="T1"/>
              </a:cxn>
              <a:cxn ang="0">
                <a:pos x="T2" y="T3"/>
              </a:cxn>
              <a:cxn ang="0">
                <a:pos x="T4" y="T5"/>
              </a:cxn>
              <a:cxn ang="0">
                <a:pos x="T6" y="T7"/>
              </a:cxn>
              <a:cxn ang="0">
                <a:pos x="T8" y="T9"/>
              </a:cxn>
            </a:cxnLst>
            <a:rect l="0" t="0" r="r" b="b"/>
            <a:pathLst>
              <a:path w="33" h="28">
                <a:moveTo>
                  <a:pt x="33" y="12"/>
                </a:moveTo>
                <a:lnTo>
                  <a:pt x="9" y="28"/>
                </a:lnTo>
                <a:lnTo>
                  <a:pt x="0" y="14"/>
                </a:lnTo>
                <a:lnTo>
                  <a:pt x="24" y="0"/>
                </a:lnTo>
                <a:lnTo>
                  <a:pt x="33" y="12"/>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35" name="Freeform 232"/>
          <p:cNvSpPr>
            <a:spLocks/>
          </p:cNvSpPr>
          <p:nvPr userDrawn="1"/>
        </p:nvSpPr>
        <p:spPr bwMode="auto">
          <a:xfrm>
            <a:off x="10122129" y="3804120"/>
            <a:ext cx="51358" cy="43582"/>
          </a:xfrm>
          <a:custGeom>
            <a:avLst/>
            <a:gdLst>
              <a:gd name="T0" fmla="*/ 33 w 33"/>
              <a:gd name="T1" fmla="*/ 14 h 28"/>
              <a:gd name="T2" fmla="*/ 9 w 33"/>
              <a:gd name="T3" fmla="*/ 28 h 28"/>
              <a:gd name="T4" fmla="*/ 0 w 33"/>
              <a:gd name="T5" fmla="*/ 16 h 28"/>
              <a:gd name="T6" fmla="*/ 24 w 33"/>
              <a:gd name="T7" fmla="*/ 0 h 28"/>
              <a:gd name="T8" fmla="*/ 33 w 33"/>
              <a:gd name="T9" fmla="*/ 14 h 28"/>
            </a:gdLst>
            <a:ahLst/>
            <a:cxnLst>
              <a:cxn ang="0">
                <a:pos x="T0" y="T1"/>
              </a:cxn>
              <a:cxn ang="0">
                <a:pos x="T2" y="T3"/>
              </a:cxn>
              <a:cxn ang="0">
                <a:pos x="T4" y="T5"/>
              </a:cxn>
              <a:cxn ang="0">
                <a:pos x="T6" y="T7"/>
              </a:cxn>
              <a:cxn ang="0">
                <a:pos x="T8" y="T9"/>
              </a:cxn>
            </a:cxnLst>
            <a:rect l="0" t="0" r="r" b="b"/>
            <a:pathLst>
              <a:path w="33" h="28">
                <a:moveTo>
                  <a:pt x="33" y="14"/>
                </a:moveTo>
                <a:lnTo>
                  <a:pt x="9" y="28"/>
                </a:lnTo>
                <a:lnTo>
                  <a:pt x="0" y="16"/>
                </a:lnTo>
                <a:lnTo>
                  <a:pt x="24" y="0"/>
                </a:lnTo>
                <a:lnTo>
                  <a:pt x="33" y="14"/>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36" name="Freeform 233"/>
          <p:cNvSpPr>
            <a:spLocks/>
          </p:cNvSpPr>
          <p:nvPr userDrawn="1"/>
        </p:nvSpPr>
        <p:spPr bwMode="auto">
          <a:xfrm>
            <a:off x="10095672" y="3762095"/>
            <a:ext cx="48246" cy="43582"/>
          </a:xfrm>
          <a:custGeom>
            <a:avLst/>
            <a:gdLst>
              <a:gd name="T0" fmla="*/ 31 w 31"/>
              <a:gd name="T1" fmla="*/ 13 h 28"/>
              <a:gd name="T2" fmla="*/ 7 w 31"/>
              <a:gd name="T3" fmla="*/ 28 h 28"/>
              <a:gd name="T4" fmla="*/ 0 w 31"/>
              <a:gd name="T5" fmla="*/ 15 h 28"/>
              <a:gd name="T6" fmla="*/ 23 w 31"/>
              <a:gd name="T7" fmla="*/ 0 h 28"/>
              <a:gd name="T8" fmla="*/ 31 w 31"/>
              <a:gd name="T9" fmla="*/ 13 h 28"/>
            </a:gdLst>
            <a:ahLst/>
            <a:cxnLst>
              <a:cxn ang="0">
                <a:pos x="T0" y="T1"/>
              </a:cxn>
              <a:cxn ang="0">
                <a:pos x="T2" y="T3"/>
              </a:cxn>
              <a:cxn ang="0">
                <a:pos x="T4" y="T5"/>
              </a:cxn>
              <a:cxn ang="0">
                <a:pos x="T6" y="T7"/>
              </a:cxn>
              <a:cxn ang="0">
                <a:pos x="T8" y="T9"/>
              </a:cxn>
            </a:cxnLst>
            <a:rect l="0" t="0" r="r" b="b"/>
            <a:pathLst>
              <a:path w="31" h="28">
                <a:moveTo>
                  <a:pt x="31" y="13"/>
                </a:moveTo>
                <a:lnTo>
                  <a:pt x="7" y="28"/>
                </a:lnTo>
                <a:lnTo>
                  <a:pt x="0" y="15"/>
                </a:lnTo>
                <a:lnTo>
                  <a:pt x="23" y="0"/>
                </a:lnTo>
                <a:lnTo>
                  <a:pt x="31"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37" name="Freeform 234"/>
          <p:cNvSpPr>
            <a:spLocks/>
          </p:cNvSpPr>
          <p:nvPr userDrawn="1"/>
        </p:nvSpPr>
        <p:spPr bwMode="auto">
          <a:xfrm>
            <a:off x="10066103" y="3696721"/>
            <a:ext cx="80927" cy="66931"/>
          </a:xfrm>
          <a:custGeom>
            <a:avLst/>
            <a:gdLst>
              <a:gd name="T0" fmla="*/ 52 w 52"/>
              <a:gd name="T1" fmla="*/ 14 h 43"/>
              <a:gd name="T2" fmla="*/ 9 w 52"/>
              <a:gd name="T3" fmla="*/ 43 h 43"/>
              <a:gd name="T4" fmla="*/ 0 w 52"/>
              <a:gd name="T5" fmla="*/ 29 h 43"/>
              <a:gd name="T6" fmla="*/ 43 w 52"/>
              <a:gd name="T7" fmla="*/ 0 h 43"/>
              <a:gd name="T8" fmla="*/ 52 w 52"/>
              <a:gd name="T9" fmla="*/ 14 h 43"/>
            </a:gdLst>
            <a:ahLst/>
            <a:cxnLst>
              <a:cxn ang="0">
                <a:pos x="T0" y="T1"/>
              </a:cxn>
              <a:cxn ang="0">
                <a:pos x="T2" y="T3"/>
              </a:cxn>
              <a:cxn ang="0">
                <a:pos x="T4" y="T5"/>
              </a:cxn>
              <a:cxn ang="0">
                <a:pos x="T6" y="T7"/>
              </a:cxn>
              <a:cxn ang="0">
                <a:pos x="T8" y="T9"/>
              </a:cxn>
            </a:cxnLst>
            <a:rect l="0" t="0" r="r" b="b"/>
            <a:pathLst>
              <a:path w="52" h="43">
                <a:moveTo>
                  <a:pt x="52" y="14"/>
                </a:moveTo>
                <a:lnTo>
                  <a:pt x="9" y="43"/>
                </a:lnTo>
                <a:lnTo>
                  <a:pt x="0" y="29"/>
                </a:lnTo>
                <a:lnTo>
                  <a:pt x="43" y="0"/>
                </a:lnTo>
                <a:lnTo>
                  <a:pt x="52" y="14"/>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38" name="Freeform 235"/>
          <p:cNvSpPr>
            <a:spLocks/>
          </p:cNvSpPr>
          <p:nvPr userDrawn="1"/>
        </p:nvSpPr>
        <p:spPr bwMode="auto">
          <a:xfrm>
            <a:off x="10038090" y="3674930"/>
            <a:ext cx="49801" cy="45139"/>
          </a:xfrm>
          <a:custGeom>
            <a:avLst/>
            <a:gdLst>
              <a:gd name="T0" fmla="*/ 32 w 32"/>
              <a:gd name="T1" fmla="*/ 13 h 29"/>
              <a:gd name="T2" fmla="*/ 9 w 32"/>
              <a:gd name="T3" fmla="*/ 29 h 29"/>
              <a:gd name="T4" fmla="*/ 0 w 32"/>
              <a:gd name="T5" fmla="*/ 16 h 29"/>
              <a:gd name="T6" fmla="*/ 23 w 32"/>
              <a:gd name="T7" fmla="*/ 0 h 29"/>
              <a:gd name="T8" fmla="*/ 32 w 32"/>
              <a:gd name="T9" fmla="*/ 13 h 29"/>
            </a:gdLst>
            <a:ahLst/>
            <a:cxnLst>
              <a:cxn ang="0">
                <a:pos x="T0" y="T1"/>
              </a:cxn>
              <a:cxn ang="0">
                <a:pos x="T2" y="T3"/>
              </a:cxn>
              <a:cxn ang="0">
                <a:pos x="T4" y="T5"/>
              </a:cxn>
              <a:cxn ang="0">
                <a:pos x="T6" y="T7"/>
              </a:cxn>
              <a:cxn ang="0">
                <a:pos x="T8" y="T9"/>
              </a:cxn>
            </a:cxnLst>
            <a:rect l="0" t="0" r="r" b="b"/>
            <a:pathLst>
              <a:path w="32" h="29">
                <a:moveTo>
                  <a:pt x="32" y="13"/>
                </a:moveTo>
                <a:lnTo>
                  <a:pt x="9" y="29"/>
                </a:lnTo>
                <a:lnTo>
                  <a:pt x="0" y="16"/>
                </a:lnTo>
                <a:lnTo>
                  <a:pt x="23" y="0"/>
                </a:lnTo>
                <a:lnTo>
                  <a:pt x="32"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39" name="Freeform 236"/>
          <p:cNvSpPr>
            <a:spLocks/>
          </p:cNvSpPr>
          <p:nvPr userDrawn="1"/>
        </p:nvSpPr>
        <p:spPr bwMode="auto">
          <a:xfrm>
            <a:off x="10010076" y="3632904"/>
            <a:ext cx="48246" cy="43582"/>
          </a:xfrm>
          <a:custGeom>
            <a:avLst/>
            <a:gdLst>
              <a:gd name="T0" fmla="*/ 31 w 31"/>
              <a:gd name="T1" fmla="*/ 13 h 28"/>
              <a:gd name="T2" fmla="*/ 8 w 31"/>
              <a:gd name="T3" fmla="*/ 28 h 28"/>
              <a:gd name="T4" fmla="*/ 0 w 31"/>
              <a:gd name="T5" fmla="*/ 15 h 28"/>
              <a:gd name="T6" fmla="*/ 23 w 31"/>
              <a:gd name="T7" fmla="*/ 0 h 28"/>
              <a:gd name="T8" fmla="*/ 31 w 31"/>
              <a:gd name="T9" fmla="*/ 13 h 28"/>
            </a:gdLst>
            <a:ahLst/>
            <a:cxnLst>
              <a:cxn ang="0">
                <a:pos x="T0" y="T1"/>
              </a:cxn>
              <a:cxn ang="0">
                <a:pos x="T2" y="T3"/>
              </a:cxn>
              <a:cxn ang="0">
                <a:pos x="T4" y="T5"/>
              </a:cxn>
              <a:cxn ang="0">
                <a:pos x="T6" y="T7"/>
              </a:cxn>
              <a:cxn ang="0">
                <a:pos x="T8" y="T9"/>
              </a:cxn>
            </a:cxnLst>
            <a:rect l="0" t="0" r="r" b="b"/>
            <a:pathLst>
              <a:path w="31" h="28">
                <a:moveTo>
                  <a:pt x="31" y="13"/>
                </a:moveTo>
                <a:lnTo>
                  <a:pt x="8" y="28"/>
                </a:lnTo>
                <a:lnTo>
                  <a:pt x="0" y="15"/>
                </a:lnTo>
                <a:lnTo>
                  <a:pt x="23" y="0"/>
                </a:lnTo>
                <a:lnTo>
                  <a:pt x="31"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40" name="Freeform 237"/>
          <p:cNvSpPr>
            <a:spLocks/>
          </p:cNvSpPr>
          <p:nvPr userDrawn="1"/>
        </p:nvSpPr>
        <p:spPr bwMode="auto">
          <a:xfrm>
            <a:off x="9980506" y="3590879"/>
            <a:ext cx="49801" cy="42026"/>
          </a:xfrm>
          <a:custGeom>
            <a:avLst/>
            <a:gdLst>
              <a:gd name="T0" fmla="*/ 32 w 32"/>
              <a:gd name="T1" fmla="*/ 13 h 27"/>
              <a:gd name="T2" fmla="*/ 9 w 32"/>
              <a:gd name="T3" fmla="*/ 27 h 27"/>
              <a:gd name="T4" fmla="*/ 0 w 32"/>
              <a:gd name="T5" fmla="*/ 15 h 27"/>
              <a:gd name="T6" fmla="*/ 23 w 32"/>
              <a:gd name="T7" fmla="*/ 0 h 27"/>
              <a:gd name="T8" fmla="*/ 32 w 32"/>
              <a:gd name="T9" fmla="*/ 13 h 27"/>
            </a:gdLst>
            <a:ahLst/>
            <a:cxnLst>
              <a:cxn ang="0">
                <a:pos x="T0" y="T1"/>
              </a:cxn>
              <a:cxn ang="0">
                <a:pos x="T2" y="T3"/>
              </a:cxn>
              <a:cxn ang="0">
                <a:pos x="T4" y="T5"/>
              </a:cxn>
              <a:cxn ang="0">
                <a:pos x="T6" y="T7"/>
              </a:cxn>
              <a:cxn ang="0">
                <a:pos x="T8" y="T9"/>
              </a:cxn>
            </a:cxnLst>
            <a:rect l="0" t="0" r="r" b="b"/>
            <a:pathLst>
              <a:path w="32" h="27">
                <a:moveTo>
                  <a:pt x="32" y="13"/>
                </a:moveTo>
                <a:lnTo>
                  <a:pt x="9" y="27"/>
                </a:lnTo>
                <a:lnTo>
                  <a:pt x="0" y="15"/>
                </a:lnTo>
                <a:lnTo>
                  <a:pt x="23" y="0"/>
                </a:lnTo>
                <a:lnTo>
                  <a:pt x="32"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41" name="Freeform 238"/>
          <p:cNvSpPr>
            <a:spLocks/>
          </p:cNvSpPr>
          <p:nvPr userDrawn="1"/>
        </p:nvSpPr>
        <p:spPr bwMode="auto">
          <a:xfrm>
            <a:off x="9952493" y="3547296"/>
            <a:ext cx="51358" cy="45139"/>
          </a:xfrm>
          <a:custGeom>
            <a:avLst/>
            <a:gdLst>
              <a:gd name="T0" fmla="*/ 33 w 33"/>
              <a:gd name="T1" fmla="*/ 13 h 29"/>
              <a:gd name="T2" fmla="*/ 9 w 33"/>
              <a:gd name="T3" fmla="*/ 29 h 29"/>
              <a:gd name="T4" fmla="*/ 0 w 33"/>
              <a:gd name="T5" fmla="*/ 16 h 29"/>
              <a:gd name="T6" fmla="*/ 24 w 33"/>
              <a:gd name="T7" fmla="*/ 0 h 29"/>
              <a:gd name="T8" fmla="*/ 33 w 33"/>
              <a:gd name="T9" fmla="*/ 13 h 29"/>
            </a:gdLst>
            <a:ahLst/>
            <a:cxnLst>
              <a:cxn ang="0">
                <a:pos x="T0" y="T1"/>
              </a:cxn>
              <a:cxn ang="0">
                <a:pos x="T2" y="T3"/>
              </a:cxn>
              <a:cxn ang="0">
                <a:pos x="T4" y="T5"/>
              </a:cxn>
              <a:cxn ang="0">
                <a:pos x="T6" y="T7"/>
              </a:cxn>
              <a:cxn ang="0">
                <a:pos x="T8" y="T9"/>
              </a:cxn>
            </a:cxnLst>
            <a:rect l="0" t="0" r="r" b="b"/>
            <a:pathLst>
              <a:path w="33" h="29">
                <a:moveTo>
                  <a:pt x="33" y="13"/>
                </a:moveTo>
                <a:lnTo>
                  <a:pt x="9" y="29"/>
                </a:lnTo>
                <a:lnTo>
                  <a:pt x="0" y="16"/>
                </a:lnTo>
                <a:lnTo>
                  <a:pt x="24" y="0"/>
                </a:lnTo>
                <a:lnTo>
                  <a:pt x="33" y="13"/>
                </a:lnTo>
                <a:close/>
              </a:path>
            </a:pathLst>
          </a:custGeom>
          <a:solidFill>
            <a:srgbClr val="00B294"/>
          </a:solidFill>
          <a:ln>
            <a:noFill/>
          </a:ln>
        </p:spPr>
        <p:txBody>
          <a:bodyPr vert="horz" wrap="square" lIns="89642" tIns="44821" rIns="89642" bIns="44821"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4112855930"/>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Read Me">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sz="1800"/>
          </a:p>
        </p:txBody>
      </p:sp>
      <p:sp>
        <p:nvSpPr>
          <p:cNvPr id="2" name="Title 1"/>
          <p:cNvSpPr>
            <a:spLocks noGrp="1"/>
          </p:cNvSpPr>
          <p:nvPr>
            <p:ph type="title"/>
          </p:nvPr>
        </p:nvSpPr>
        <p:spPr/>
        <p:txBody>
          <a:bodyPr/>
          <a:lstStyle>
            <a:lvl1pPr>
              <a:defRPr>
                <a:gradFill>
                  <a:gsLst>
                    <a:gs pos="2917">
                      <a:schemeClr val="bg1"/>
                    </a:gs>
                    <a:gs pos="100000">
                      <a:schemeClr val="bg1"/>
                    </a:gs>
                  </a:gsLst>
                  <a:lin ang="5400000" scaled="0"/>
                </a:gradFill>
              </a:defRPr>
            </a:lvl1pPr>
          </a:lstStyle>
          <a:p>
            <a:r>
              <a:rPr lang="en-US"/>
              <a:t>Click to edit Master title style</a:t>
            </a:r>
          </a:p>
        </p:txBody>
      </p:sp>
      <p:sp>
        <p:nvSpPr>
          <p:cNvPr id="3" name="Date Placeholder 2"/>
          <p:cNvSpPr>
            <a:spLocks noGrp="1"/>
          </p:cNvSpPr>
          <p:nvPr>
            <p:ph type="dt" sz="half" idx="10"/>
          </p:nvPr>
        </p:nvSpPr>
        <p:spPr/>
        <p:txBody>
          <a:bodyPr/>
          <a:lstStyle>
            <a:lvl1pPr>
              <a:defRPr>
                <a:gradFill>
                  <a:gsLst>
                    <a:gs pos="2917">
                      <a:schemeClr val="bg1"/>
                    </a:gs>
                    <a:gs pos="100000">
                      <a:schemeClr val="bg1"/>
                    </a:gs>
                  </a:gsLst>
                  <a:lin ang="5400000" scaled="0"/>
                </a:gradFill>
              </a:defRPr>
            </a:lvl1pPr>
          </a:lstStyle>
          <a:p>
            <a:fld id="{2FDB68B1-B4F4-4890-9334-AD72A17DA0C3}" type="datetime1">
              <a:rPr lang="en-US" smtClean="0"/>
              <a:t>3/4/2019</a:t>
            </a:fld>
            <a:endParaRPr lang="en-US"/>
          </a:p>
        </p:txBody>
      </p:sp>
      <p:sp>
        <p:nvSpPr>
          <p:cNvPr id="4" name="Footer Placeholder 3"/>
          <p:cNvSpPr>
            <a:spLocks noGrp="1"/>
          </p:cNvSpPr>
          <p:nvPr>
            <p:ph type="ftr" sz="quarter" idx="11"/>
          </p:nvPr>
        </p:nvSpPr>
        <p:spPr/>
        <p:txBody>
          <a:bodyPr/>
          <a:lstStyle>
            <a:lvl1pPr>
              <a:defRPr>
                <a:gradFill>
                  <a:gsLst>
                    <a:gs pos="2917">
                      <a:schemeClr val="bg1"/>
                    </a:gs>
                    <a:gs pos="100000">
                      <a:schemeClr val="bg1"/>
                    </a:gs>
                  </a:gsLst>
                  <a:lin ang="5400000" scaled="0"/>
                </a:gradFill>
              </a:defRPr>
            </a:lvl1pPr>
          </a:lstStyle>
          <a:p>
            <a:r>
              <a:rPr lang="en-US"/>
              <a:t>MICROSOFT CONFIDENTIAL Pre-release simulated screenshot shown, final experience may differ</a:t>
            </a:r>
          </a:p>
        </p:txBody>
      </p:sp>
      <p:sp>
        <p:nvSpPr>
          <p:cNvPr id="5" name="Slide Number Placeholder 4"/>
          <p:cNvSpPr>
            <a:spLocks noGrp="1"/>
          </p:cNvSpPr>
          <p:nvPr>
            <p:ph type="sldNum" sz="quarter" idx="12"/>
          </p:nvPr>
        </p:nvSpPr>
        <p:spPr/>
        <p:txBody>
          <a:bodyPr/>
          <a:lstStyle>
            <a:lvl1pPr>
              <a:defRPr>
                <a:gradFill>
                  <a:gsLst>
                    <a:gs pos="2917">
                      <a:schemeClr val="bg1"/>
                    </a:gs>
                    <a:gs pos="100000">
                      <a:schemeClr val="bg1"/>
                    </a:gs>
                  </a:gsLst>
                  <a:lin ang="5400000" scaled="0"/>
                </a:gradFill>
              </a:defRPr>
            </a:lvl1pPr>
          </a:lstStyle>
          <a:p>
            <a:fld id="{9373C030-8119-439B-A7A2-330B51F4C009}" type="slidenum">
              <a:rPr lang="en-US" smtClean="0"/>
              <a:pPr/>
              <a:t>‹#›</a:t>
            </a:fld>
            <a:endParaRPr lang="en-US"/>
          </a:p>
        </p:txBody>
      </p:sp>
      <p:sp>
        <p:nvSpPr>
          <p:cNvPr id="8" name="Text Placeholder 7"/>
          <p:cNvSpPr>
            <a:spLocks noGrp="1"/>
          </p:cNvSpPr>
          <p:nvPr>
            <p:ph type="body" sz="quarter" idx="13"/>
          </p:nvPr>
        </p:nvSpPr>
        <p:spPr>
          <a:xfrm>
            <a:off x="381001" y="1073609"/>
            <a:ext cx="11426825" cy="5411453"/>
          </a:xfrm>
        </p:spPr>
        <p:txBody>
          <a:bodyPr/>
          <a:lstStyle>
            <a:lvl1pPr>
              <a:defRPr>
                <a:gradFill>
                  <a:gsLst>
                    <a:gs pos="2917">
                      <a:schemeClr val="bg1"/>
                    </a:gs>
                    <a:gs pos="100000">
                      <a:schemeClr val="bg1"/>
                    </a:gs>
                  </a:gsLst>
                  <a:lin ang="5400000" scaled="0"/>
                </a:gradFill>
              </a:defRPr>
            </a:lvl1pPr>
            <a:lvl2pPr>
              <a:defRPr>
                <a:gradFill>
                  <a:gsLst>
                    <a:gs pos="2917">
                      <a:schemeClr val="bg1"/>
                    </a:gs>
                    <a:gs pos="100000">
                      <a:schemeClr val="bg1"/>
                    </a:gs>
                  </a:gsLst>
                  <a:lin ang="5400000" scaled="0"/>
                </a:gradFill>
              </a:defRPr>
            </a:lvl2pPr>
            <a:lvl3pPr>
              <a:buClr>
                <a:schemeClr val="bg1"/>
              </a:buClr>
              <a:defRPr>
                <a:gradFill>
                  <a:gsLst>
                    <a:gs pos="2917">
                      <a:schemeClr val="bg1"/>
                    </a:gs>
                    <a:gs pos="100000">
                      <a:schemeClr val="bg1"/>
                    </a:gs>
                  </a:gsLst>
                  <a:lin ang="5400000" scaled="0"/>
                </a:gradFill>
              </a:defRPr>
            </a:lvl3pPr>
            <a:lvl4pPr>
              <a:buClr>
                <a:schemeClr val="bg1"/>
              </a:buClr>
              <a:defRPr>
                <a:gradFill>
                  <a:gsLst>
                    <a:gs pos="2917">
                      <a:schemeClr val="bg1"/>
                    </a:gs>
                    <a:gs pos="100000">
                      <a:schemeClr val="bg1"/>
                    </a:gs>
                  </a:gsLst>
                  <a:lin ang="5400000" scaled="0"/>
                </a:gradFill>
              </a:defRPr>
            </a:lvl4pPr>
            <a:lvl5pPr>
              <a:buClr>
                <a:schemeClr val="bg1"/>
              </a:buClr>
              <a:defRPr>
                <a:gradFill>
                  <a:gsLst>
                    <a:gs pos="2917">
                      <a:schemeClr val="bg1"/>
                    </a:gs>
                    <a:gs pos="100000">
                      <a:schemeClr val="bg1"/>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0371132"/>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entation Title Edu Grade 9-12">
    <p:spTree>
      <p:nvGrpSpPr>
        <p:cNvPr id="1" name=""/>
        <p:cNvGrpSpPr/>
        <p:nvPr/>
      </p:nvGrpSpPr>
      <p:grpSpPr>
        <a:xfrm>
          <a:off x="0" y="0"/>
          <a:ext cx="0" cy="0"/>
          <a:chOff x="0" y="0"/>
          <a:chExt cx="0" cy="0"/>
        </a:xfrm>
      </p:grpSpPr>
      <p:sp>
        <p:nvSpPr>
          <p:cNvPr id="6" name="Rectangle 5"/>
          <p:cNvSpPr/>
          <p:nvPr userDrawn="1"/>
        </p:nvSpPr>
        <p:spPr>
          <a:xfrm>
            <a:off x="0" y="0"/>
            <a:ext cx="400434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p>
        </p:txBody>
      </p:sp>
      <p:sp>
        <p:nvSpPr>
          <p:cNvPr id="2" name="Title 1"/>
          <p:cNvSpPr>
            <a:spLocks noGrp="1"/>
          </p:cNvSpPr>
          <p:nvPr>
            <p:ph type="title" hasCustomPrompt="1"/>
          </p:nvPr>
        </p:nvSpPr>
        <p:spPr>
          <a:xfrm>
            <a:off x="381293" y="365781"/>
            <a:ext cx="3406414" cy="3063219"/>
          </a:xfrm>
        </p:spPr>
        <p:txBody>
          <a:bodyPr wrap="square" tIns="0" bIns="0" anchor="ctr"/>
          <a:lstStyle>
            <a:lvl1pPr>
              <a:defRPr sz="3921">
                <a:solidFill>
                  <a:schemeClr val="bg1"/>
                </a:solidFill>
                <a:latin typeface="Segoe UI Semilight" panose="020B0402040204020203" pitchFamily="34" charset="0"/>
                <a:cs typeface="Segoe UI Semilight" panose="020B0402040204020203" pitchFamily="34" charset="0"/>
              </a:defRPr>
            </a:lvl1pPr>
          </a:lstStyle>
          <a:p>
            <a:r>
              <a:rPr lang="en-US"/>
              <a:t>Click to add presentation title</a:t>
            </a:r>
          </a:p>
        </p:txBody>
      </p:sp>
      <p:sp>
        <p:nvSpPr>
          <p:cNvPr id="5" name="Picture Placeholder 4"/>
          <p:cNvSpPr>
            <a:spLocks noGrp="1"/>
          </p:cNvSpPr>
          <p:nvPr>
            <p:ph type="pic" sz="quarter" idx="10"/>
          </p:nvPr>
        </p:nvSpPr>
        <p:spPr>
          <a:xfrm>
            <a:off x="4004343" y="0"/>
            <a:ext cx="8187657" cy="6858000"/>
          </a:xfrm>
          <a:blipFill>
            <a:blip r:embed="rId2"/>
            <a:srcRect/>
            <a:stretch>
              <a:fillRect/>
            </a:stretch>
          </a:blipFill>
        </p:spPr>
        <p:txBody>
          <a:bodyPr anchor="ctr"/>
          <a:lstStyle>
            <a:lvl1pPr algn="ctr">
              <a:defRPr>
                <a:solidFill>
                  <a:schemeClr val="bg1">
                    <a:alpha val="0"/>
                  </a:schemeClr>
                </a:solidFill>
              </a:defRPr>
            </a:lvl1pPr>
          </a:lstStyle>
          <a:p>
            <a:endParaRPr lang="en-US"/>
          </a:p>
        </p:txBody>
      </p:sp>
      <p:sp>
        <p:nvSpPr>
          <p:cNvPr id="16" name="Text Placeholder 15"/>
          <p:cNvSpPr>
            <a:spLocks noGrp="1"/>
          </p:cNvSpPr>
          <p:nvPr>
            <p:ph type="body" sz="quarter" idx="11" hasCustomPrompt="1"/>
          </p:nvPr>
        </p:nvSpPr>
        <p:spPr>
          <a:xfrm>
            <a:off x="381292" y="3429001"/>
            <a:ext cx="3406414" cy="2059267"/>
          </a:xfrm>
        </p:spPr>
        <p:txBody>
          <a:bodyPr tIns="0" bIns="0" anchor="ctr"/>
          <a:lstStyle>
            <a:lvl1pPr>
              <a:defRPr sz="1961">
                <a:solidFill>
                  <a:schemeClr val="bg1"/>
                </a:solidFill>
              </a:defRPr>
            </a:lvl1pPr>
            <a:lvl2pPr>
              <a:defRPr sz="1765">
                <a:solidFill>
                  <a:schemeClr val="bg1"/>
                </a:solidFill>
              </a:defRPr>
            </a:lvl2pPr>
            <a:lvl3pPr marL="3112" indent="0">
              <a:buNone/>
              <a:defRPr sz="1961">
                <a:gradFill>
                  <a:gsLst>
                    <a:gs pos="2917">
                      <a:schemeClr val="bg1"/>
                    </a:gs>
                    <a:gs pos="100000">
                      <a:schemeClr val="bg1">
                        <a:alpha val="99000"/>
                      </a:schemeClr>
                    </a:gs>
                  </a:gsLst>
                  <a:lin ang="5400000" scaled="0"/>
                </a:gradFill>
              </a:defRPr>
            </a:lvl3pPr>
            <a:lvl4pPr>
              <a:defRPr sz="1961">
                <a:gradFill>
                  <a:gsLst>
                    <a:gs pos="2917">
                      <a:schemeClr val="bg1"/>
                    </a:gs>
                    <a:gs pos="100000">
                      <a:schemeClr val="bg1">
                        <a:alpha val="99000"/>
                      </a:schemeClr>
                    </a:gs>
                  </a:gsLst>
                  <a:lin ang="5400000" scaled="0"/>
                </a:gradFill>
              </a:defRPr>
            </a:lvl4pPr>
            <a:lvl5pPr>
              <a:defRPr sz="1961">
                <a:gradFill>
                  <a:gsLst>
                    <a:gs pos="2917">
                      <a:schemeClr val="bg1"/>
                    </a:gs>
                    <a:gs pos="100000">
                      <a:schemeClr val="bg1">
                        <a:alpha val="99000"/>
                      </a:schemeClr>
                    </a:gs>
                  </a:gsLst>
                  <a:lin ang="5400000" scaled="0"/>
                </a:gradFill>
              </a:defRPr>
            </a:lvl5pPr>
          </a:lstStyle>
          <a:p>
            <a:pPr lvl="0"/>
            <a:r>
              <a:rPr lang="en-US"/>
              <a:t>Click to add byline</a:t>
            </a:r>
          </a:p>
          <a:p>
            <a:pPr lvl="1"/>
            <a:r>
              <a:rPr lang="en-US"/>
              <a:t>Second level</a:t>
            </a:r>
          </a:p>
        </p:txBody>
      </p:sp>
    </p:spTree>
    <p:extLst>
      <p:ext uri="{BB962C8B-B14F-4D97-AF65-F5344CB8AC3E}">
        <p14:creationId xmlns:p14="http://schemas.microsoft.com/office/powerpoint/2010/main" val="1238843735"/>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sz="1800"/>
          </a:p>
        </p:txBody>
      </p:sp>
      <p:sp>
        <p:nvSpPr>
          <p:cNvPr id="2" name="Title 1"/>
          <p:cNvSpPr>
            <a:spLocks noGrp="1"/>
          </p:cNvSpPr>
          <p:nvPr>
            <p:ph type="title"/>
          </p:nvPr>
        </p:nvSpPr>
        <p:spPr/>
        <p:txBody>
          <a:bodyPr/>
          <a:lstStyle>
            <a:lvl1pPr>
              <a:defRPr>
                <a:gradFill>
                  <a:gsLst>
                    <a:gs pos="2917">
                      <a:schemeClr val="bg1"/>
                    </a:gs>
                    <a:gs pos="100000">
                      <a:schemeClr val="bg1"/>
                    </a:gs>
                  </a:gsLst>
                  <a:lin ang="5400000" scaled="0"/>
                </a:gradFill>
              </a:defRPr>
            </a:lvl1pPr>
          </a:lstStyle>
          <a:p>
            <a:r>
              <a:rPr lang="en-US"/>
              <a:t>Click to edit Master title style</a:t>
            </a:r>
          </a:p>
        </p:txBody>
      </p:sp>
      <p:sp>
        <p:nvSpPr>
          <p:cNvPr id="8" name="Text Placeholder 7"/>
          <p:cNvSpPr>
            <a:spLocks noGrp="1"/>
          </p:cNvSpPr>
          <p:nvPr>
            <p:ph type="body" sz="quarter" idx="13"/>
          </p:nvPr>
        </p:nvSpPr>
        <p:spPr>
          <a:xfrm>
            <a:off x="381001" y="1073608"/>
            <a:ext cx="11426825" cy="4816553"/>
          </a:xfrm>
        </p:spPr>
        <p:txBody>
          <a:bodyPr anchor="ctr"/>
          <a:lstStyle>
            <a:lvl1pPr>
              <a:defRPr sz="1800">
                <a:gradFill>
                  <a:gsLst>
                    <a:gs pos="2917">
                      <a:schemeClr val="bg1"/>
                    </a:gs>
                    <a:gs pos="100000">
                      <a:schemeClr val="bg1"/>
                    </a:gs>
                  </a:gsLst>
                  <a:lin ang="5400000" scaled="0"/>
                </a:gradFill>
              </a:defRPr>
            </a:lvl1pPr>
            <a:lvl2pPr>
              <a:defRPr sz="1600">
                <a:gradFill>
                  <a:gsLst>
                    <a:gs pos="2917">
                      <a:schemeClr val="bg1"/>
                    </a:gs>
                    <a:gs pos="100000">
                      <a:schemeClr val="bg1"/>
                    </a:gs>
                  </a:gsLst>
                  <a:lin ang="5400000" scaled="0"/>
                </a:gradFill>
              </a:defRPr>
            </a:lvl2pPr>
            <a:lvl3pPr>
              <a:buClr>
                <a:schemeClr val="bg1"/>
              </a:buClr>
              <a:defRPr sz="1600">
                <a:gradFill>
                  <a:gsLst>
                    <a:gs pos="2917">
                      <a:schemeClr val="bg1"/>
                    </a:gs>
                    <a:gs pos="100000">
                      <a:schemeClr val="bg1"/>
                    </a:gs>
                  </a:gsLst>
                  <a:lin ang="5400000" scaled="0"/>
                </a:gradFill>
              </a:defRPr>
            </a:lvl3pPr>
            <a:lvl4pPr>
              <a:buClr>
                <a:schemeClr val="bg1"/>
              </a:buClr>
              <a:defRPr sz="1600">
                <a:gradFill>
                  <a:gsLst>
                    <a:gs pos="2917">
                      <a:schemeClr val="bg1"/>
                    </a:gs>
                    <a:gs pos="100000">
                      <a:schemeClr val="bg1"/>
                    </a:gs>
                  </a:gsLst>
                  <a:lin ang="5400000" scaled="0"/>
                </a:gradFill>
              </a:defRPr>
            </a:lvl4pPr>
            <a:lvl5pPr>
              <a:buClr>
                <a:schemeClr val="bg1"/>
              </a:buClr>
              <a:defRPr sz="1600">
                <a:gradFill>
                  <a:gsLst>
                    <a:gs pos="2917">
                      <a:schemeClr val="bg1"/>
                    </a:gs>
                    <a:gs pos="100000">
                      <a:schemeClr val="bg1"/>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67807" y="6116478"/>
            <a:ext cx="1358520" cy="515207"/>
          </a:xfrm>
          <a:prstGeom prst="rect">
            <a:avLst/>
          </a:prstGeom>
        </p:spPr>
      </p:pic>
    </p:spTree>
    <p:extLst>
      <p:ext uri="{BB962C8B-B14F-4D97-AF65-F5344CB8AC3E}">
        <p14:creationId xmlns:p14="http://schemas.microsoft.com/office/powerpoint/2010/main" val="300798337"/>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leprompter Talk Track">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90" y="1590"/>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381292" y="816858"/>
            <a:ext cx="11429416" cy="5422018"/>
          </a:xfrm>
          <a:prstGeom prst="rect">
            <a:avLst/>
          </a:prstGeom>
        </p:spPr>
        <p:txBody>
          <a:bodyPr/>
          <a:lstStyle>
            <a:lvl1pPr marL="284680" indent="-284680">
              <a:spcBef>
                <a:spcPts val="588"/>
              </a:spcBef>
              <a:spcAft>
                <a:spcPts val="588"/>
              </a:spcAft>
              <a:buClr>
                <a:schemeClr val="tx1"/>
              </a:buClr>
              <a:buSzPct val="90000"/>
              <a:buFont typeface="Arial" pitchFamily="34" charset="0"/>
              <a:buChar char="•"/>
              <a:defRPr sz="2353">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1pPr>
            <a:lvl2pPr marL="560027" indent="-275348">
              <a:spcBef>
                <a:spcPts val="588"/>
              </a:spcBef>
              <a:spcAft>
                <a:spcPts val="588"/>
              </a:spcAft>
              <a:buClr>
                <a:schemeClr val="tx1"/>
              </a:buClr>
              <a:buSzPct val="90000"/>
              <a:buFont typeface="Arial" pitchFamily="34" charset="0"/>
              <a:buChar char="•"/>
              <a:defRPr sz="2353">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2pPr>
            <a:lvl3pPr marL="844707" indent="-284680">
              <a:spcBef>
                <a:spcPts val="588"/>
              </a:spcBef>
              <a:spcAft>
                <a:spcPts val="588"/>
              </a:spcAft>
              <a:buClr>
                <a:schemeClr val="tx1"/>
              </a:buClr>
              <a:buSzPct val="90000"/>
              <a:buFont typeface="Arial" pitchFamily="34" charset="0"/>
              <a:buChar char="•"/>
              <a:defRPr sz="2353">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3pPr>
            <a:lvl4pPr marL="1068718" indent="-224011">
              <a:spcBef>
                <a:spcPts val="588"/>
              </a:spcBef>
              <a:spcAft>
                <a:spcPts val="588"/>
              </a:spcAft>
              <a:buClr>
                <a:schemeClr val="tx1"/>
              </a:buClr>
              <a:buSzPct val="90000"/>
              <a:buFont typeface="Arial" pitchFamily="34" charset="0"/>
              <a:buChar char="•"/>
              <a:defRPr sz="2353">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4pPr>
            <a:lvl5pPr marL="1292727" indent="-224011">
              <a:spcBef>
                <a:spcPts val="588"/>
              </a:spcBef>
              <a:spcAft>
                <a:spcPts val="588"/>
              </a:spcAft>
              <a:buClr>
                <a:schemeClr val="tx1"/>
              </a:buClr>
              <a:buSzPct val="90000"/>
              <a:buFont typeface="Arial" pitchFamily="34" charset="0"/>
              <a:buChar char="•"/>
              <a:defRPr sz="2353">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US"/>
              <a:t>Next:</a:t>
            </a:r>
          </a:p>
        </p:txBody>
      </p:sp>
      <p:sp>
        <p:nvSpPr>
          <p:cNvPr id="5" name="Title 4"/>
          <p:cNvSpPr>
            <a:spLocks noGrp="1"/>
          </p:cNvSpPr>
          <p:nvPr>
            <p:ph type="title"/>
          </p:nvPr>
        </p:nvSpPr>
        <p:spPr>
          <a:xfrm>
            <a:off x="381292" y="365781"/>
            <a:ext cx="3867377" cy="362123"/>
          </a:xfrm>
        </p:spPr>
        <p:txBody>
          <a:bodyPr>
            <a:spAutoFit/>
          </a:bodyPr>
          <a:lstStyle>
            <a:lvl1pPr>
              <a:defRPr sz="2353">
                <a:gradFill>
                  <a:gsLst>
                    <a:gs pos="0">
                      <a:srgbClr val="F3F3F3"/>
                    </a:gs>
                    <a:gs pos="100000">
                      <a:srgbClr val="F3F3F3">
                        <a:alpha val="99000"/>
                      </a:srgbClr>
                    </a:gs>
                  </a:gsLst>
                  <a:lin ang="8100000" scaled="1"/>
                </a:gra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31976052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Subtitle">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4"/>
          </p:nvPr>
        </p:nvSpPr>
        <p:spPr>
          <a:xfrm>
            <a:off x="381293" y="838962"/>
            <a:ext cx="11421634" cy="452654"/>
          </a:xfrm>
        </p:spPr>
        <p:txBody>
          <a:bodyPr wrap="square">
            <a:spAutoFit/>
          </a:bodyPr>
          <a:lstStyle>
            <a:lvl1pPr>
              <a:defRPr sz="2353">
                <a:solidFill>
                  <a:schemeClr val="bg1">
                    <a:lumMod val="50000"/>
                  </a:schemeClr>
                </a:solidFill>
                <a:latin typeface="Segoe UI" panose="020B0502040204020203" pitchFamily="34" charset="0"/>
                <a:cs typeface="Segoe UI" panose="020B0502040204020203" pitchFamily="34" charset="0"/>
              </a:defRPr>
            </a:lvl1pPr>
          </a:lstStyle>
          <a:p>
            <a:pPr lvl="0"/>
            <a:r>
              <a:rPr lang="en-US"/>
              <a:t>Edit Master text styles</a:t>
            </a:r>
          </a:p>
        </p:txBody>
      </p:sp>
      <p:sp>
        <p:nvSpPr>
          <p:cNvPr id="9" name="Footer Placeholder 7"/>
          <p:cNvSpPr>
            <a:spLocks noGrp="1"/>
          </p:cNvSpPr>
          <p:nvPr>
            <p:ph type="ftr" sz="quarter" idx="3"/>
          </p:nvPr>
        </p:nvSpPr>
        <p:spPr>
          <a:xfrm>
            <a:off x="381292" y="6492220"/>
            <a:ext cx="6097414" cy="358621"/>
          </a:xfrm>
          <a:prstGeom prst="rect">
            <a:avLst/>
          </a:prstGeom>
        </p:spPr>
        <p:txBody>
          <a:bodyPr vert="horz" wrap="none" lIns="0" tIns="45720" rIns="0" bIns="45720" rtlCol="0" anchor="ctr">
            <a:noAutofit/>
          </a:bodyPr>
          <a:lstStyle>
            <a:lvl1pPr algn="l">
              <a:defRPr sz="1078">
                <a:solidFill>
                  <a:schemeClr val="bg1">
                    <a:lumMod val="65000"/>
                  </a:schemeClr>
                </a:solidFill>
              </a:defRPr>
            </a:lvl1pPr>
          </a:lstStyle>
          <a:p>
            <a:r>
              <a:rPr lang="en-US"/>
              <a:t>MICROSOFT CONFIDENTIAL Pre-release simulated screenshot shown, final experience may differ</a:t>
            </a:r>
          </a:p>
        </p:txBody>
      </p:sp>
      <p:sp>
        <p:nvSpPr>
          <p:cNvPr id="10" name="Date Placeholder 6"/>
          <p:cNvSpPr>
            <a:spLocks noGrp="1"/>
          </p:cNvSpPr>
          <p:nvPr>
            <p:ph type="dt" sz="half" idx="2"/>
          </p:nvPr>
        </p:nvSpPr>
        <p:spPr>
          <a:xfrm>
            <a:off x="8187659" y="6492220"/>
            <a:ext cx="869349" cy="358621"/>
          </a:xfrm>
          <a:prstGeom prst="rect">
            <a:avLst/>
          </a:prstGeom>
        </p:spPr>
        <p:txBody>
          <a:bodyPr vert="horz" wrap="none" lIns="91440" tIns="45720" rIns="0" bIns="45720" rtlCol="0" anchor="ctr">
            <a:noAutofit/>
          </a:bodyPr>
          <a:lstStyle>
            <a:lvl1pPr algn="l">
              <a:defRPr sz="1078">
                <a:solidFill>
                  <a:schemeClr val="bg1">
                    <a:lumMod val="65000"/>
                  </a:schemeClr>
                </a:solidFill>
              </a:defRPr>
            </a:lvl1pPr>
          </a:lstStyle>
          <a:p>
            <a:fld id="{89DE2E20-C700-4A3A-A890-B84EE414F382}" type="datetime1">
              <a:rPr lang="en-US" smtClean="0"/>
              <a:pPr/>
              <a:t>3/4/2019</a:t>
            </a:fld>
            <a:endParaRPr lang="en-US"/>
          </a:p>
        </p:txBody>
      </p:sp>
      <p:sp>
        <p:nvSpPr>
          <p:cNvPr id="11" name="Slide Number Placeholder 8"/>
          <p:cNvSpPr>
            <a:spLocks noGrp="1"/>
          </p:cNvSpPr>
          <p:nvPr>
            <p:ph type="sldNum" sz="quarter" idx="4"/>
          </p:nvPr>
        </p:nvSpPr>
        <p:spPr>
          <a:xfrm>
            <a:off x="11445808" y="6492220"/>
            <a:ext cx="364901" cy="358621"/>
          </a:xfrm>
          <a:prstGeom prst="rect">
            <a:avLst/>
          </a:prstGeom>
        </p:spPr>
        <p:txBody>
          <a:bodyPr vert="horz" wrap="none" lIns="91440" tIns="45720" rIns="0" bIns="45720" rtlCol="0" anchor="ctr">
            <a:noAutofit/>
          </a:bodyPr>
          <a:lstStyle>
            <a:lvl1pPr algn="r">
              <a:defRPr sz="1078">
                <a:solidFill>
                  <a:schemeClr val="bg1">
                    <a:lumMod val="65000"/>
                  </a:schemeClr>
                </a:solidFill>
              </a:defRPr>
            </a:lvl1pPr>
          </a:lstStyle>
          <a:p>
            <a:fld id="{9373C030-8119-439B-A7A2-330B51F4C009}" type="slidenum">
              <a:rPr lang="en-US" smtClean="0"/>
              <a:pPr/>
              <a:t>‹#›</a:t>
            </a:fld>
            <a:endParaRPr lang="en-US"/>
          </a:p>
        </p:txBody>
      </p:sp>
    </p:spTree>
    <p:extLst>
      <p:ext uri="{BB962C8B-B14F-4D97-AF65-F5344CB8AC3E}">
        <p14:creationId xmlns:p14="http://schemas.microsoft.com/office/powerpoint/2010/main" val="1404050627"/>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a:t>Click to edit title</a:t>
            </a:r>
          </a:p>
        </p:txBody>
      </p:sp>
      <p:sp>
        <p:nvSpPr>
          <p:cNvPr id="4" name="Text Placeholder 2"/>
          <p:cNvSpPr>
            <a:spLocks noGrp="1"/>
          </p:cNvSpPr>
          <p:nvPr>
            <p:ph type="body" sz="quarter" idx="13" hasCustomPrompt="1"/>
          </p:nvPr>
        </p:nvSpPr>
        <p:spPr>
          <a:xfrm>
            <a:off x="268820" y="6350458"/>
            <a:ext cx="11654367" cy="215444"/>
          </a:xfrm>
        </p:spPr>
        <p:txBody>
          <a:bodyPr anchor="b" anchorCtr="0">
            <a:spAutoFit/>
          </a:bodyPr>
          <a:lstStyle>
            <a:lvl1pPr>
              <a:spcBef>
                <a:spcPts val="0"/>
              </a:spcBef>
              <a:defRPr sz="800" b="0">
                <a:solidFill>
                  <a:schemeClr val="tx1"/>
                </a:solidFill>
                <a:latin typeface="+mn-lt"/>
              </a:defRPr>
            </a:lvl1pPr>
            <a:lvl2pPr>
              <a:defRPr sz="800" b="0">
                <a:solidFill>
                  <a:schemeClr val="tx1"/>
                </a:solidFill>
              </a:defRPr>
            </a:lvl2pPr>
            <a:lvl3pPr>
              <a:defRPr sz="800" b="0">
                <a:solidFill>
                  <a:schemeClr val="tx1"/>
                </a:solidFill>
              </a:defRPr>
            </a:lvl3pPr>
            <a:lvl4pPr>
              <a:defRPr sz="800" b="0">
                <a:solidFill>
                  <a:schemeClr val="tx1"/>
                </a:solidFill>
              </a:defRPr>
            </a:lvl4pPr>
            <a:lvl5pPr>
              <a:defRPr sz="800" b="0">
                <a:solidFill>
                  <a:schemeClr val="tx1"/>
                </a:solidFill>
              </a:defRPr>
            </a:lvl5pPr>
          </a:lstStyle>
          <a:p>
            <a:pPr lvl="0"/>
            <a:r>
              <a:rPr lang="en-US"/>
              <a:t>Footnote</a:t>
            </a:r>
          </a:p>
        </p:txBody>
      </p:sp>
      <p:sp>
        <p:nvSpPr>
          <p:cNvPr id="2" name="Slide Number Placeholder 1"/>
          <p:cNvSpPr>
            <a:spLocks noGrp="1"/>
          </p:cNvSpPr>
          <p:nvPr>
            <p:ph type="sldNum" sz="quarter" idx="14"/>
          </p:nvPr>
        </p:nvSpPr>
        <p:spPr/>
        <p:txBody>
          <a:bodyPr/>
          <a:lstStyle/>
          <a:p>
            <a:fld id="{36E03257-0AE1-44FC-B4D0-AB0665D5B2D9}" type="slidenum">
              <a:rPr lang="en-US" smtClean="0"/>
              <a:pPr/>
              <a:t>‹#›</a:t>
            </a:fld>
            <a:endParaRPr lang="en-US"/>
          </a:p>
        </p:txBody>
      </p:sp>
    </p:spTree>
    <p:extLst>
      <p:ext uri="{BB962C8B-B14F-4D97-AF65-F5344CB8AC3E}">
        <p14:creationId xmlns:p14="http://schemas.microsoft.com/office/powerpoint/2010/main" val="2502623532"/>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463250"/>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Footer Placeholder 7"/>
          <p:cNvSpPr>
            <a:spLocks noGrp="1"/>
          </p:cNvSpPr>
          <p:nvPr>
            <p:ph type="ftr" sz="quarter" idx="3"/>
          </p:nvPr>
        </p:nvSpPr>
        <p:spPr>
          <a:xfrm>
            <a:off x="381292" y="6492220"/>
            <a:ext cx="6097414" cy="358621"/>
          </a:xfrm>
          <a:prstGeom prst="rect">
            <a:avLst/>
          </a:prstGeom>
        </p:spPr>
        <p:txBody>
          <a:bodyPr vert="horz" wrap="none" lIns="0" tIns="45720" rIns="0" bIns="45720" rtlCol="0" anchor="ctr">
            <a:noAutofit/>
          </a:bodyPr>
          <a:lstStyle>
            <a:lvl1pPr algn="l">
              <a:defRPr sz="1078">
                <a:solidFill>
                  <a:schemeClr val="bg1">
                    <a:lumMod val="65000"/>
                  </a:schemeClr>
                </a:solidFill>
              </a:defRPr>
            </a:lvl1pPr>
          </a:lstStyle>
          <a:p>
            <a:r>
              <a:rPr lang="en-US"/>
              <a:t>MICROSOFT CONFIDENTIAL Pre-release simulated screenshot shown, final experience may differ</a:t>
            </a:r>
          </a:p>
        </p:txBody>
      </p:sp>
      <p:sp>
        <p:nvSpPr>
          <p:cNvPr id="7" name="Date Placeholder 6"/>
          <p:cNvSpPr>
            <a:spLocks noGrp="1"/>
          </p:cNvSpPr>
          <p:nvPr>
            <p:ph type="dt" sz="half" idx="2"/>
          </p:nvPr>
        </p:nvSpPr>
        <p:spPr>
          <a:xfrm>
            <a:off x="8187659" y="6492220"/>
            <a:ext cx="869349" cy="358621"/>
          </a:xfrm>
          <a:prstGeom prst="rect">
            <a:avLst/>
          </a:prstGeom>
        </p:spPr>
        <p:txBody>
          <a:bodyPr vert="horz" wrap="none" lIns="91440" tIns="45720" rIns="0" bIns="45720" rtlCol="0" anchor="ctr">
            <a:noAutofit/>
          </a:bodyPr>
          <a:lstStyle>
            <a:lvl1pPr algn="l">
              <a:defRPr sz="1078">
                <a:solidFill>
                  <a:schemeClr val="bg1">
                    <a:lumMod val="65000"/>
                  </a:schemeClr>
                </a:solidFill>
              </a:defRPr>
            </a:lvl1pPr>
          </a:lstStyle>
          <a:p>
            <a:fld id="{89DE2E20-C700-4A3A-A890-B84EE414F382}" type="datetime1">
              <a:rPr lang="en-US" smtClean="0"/>
              <a:pPr/>
              <a:t>3/4/2019</a:t>
            </a:fld>
            <a:endParaRPr lang="en-US"/>
          </a:p>
        </p:txBody>
      </p:sp>
      <p:sp>
        <p:nvSpPr>
          <p:cNvPr id="8" name="Slide Number Placeholder 8"/>
          <p:cNvSpPr>
            <a:spLocks noGrp="1"/>
          </p:cNvSpPr>
          <p:nvPr>
            <p:ph type="sldNum" sz="quarter" idx="4"/>
          </p:nvPr>
        </p:nvSpPr>
        <p:spPr>
          <a:xfrm>
            <a:off x="11445808" y="6492220"/>
            <a:ext cx="364901" cy="358621"/>
          </a:xfrm>
          <a:prstGeom prst="rect">
            <a:avLst/>
          </a:prstGeom>
        </p:spPr>
        <p:txBody>
          <a:bodyPr vert="horz" wrap="none" lIns="91440" tIns="45720" rIns="0" bIns="45720" rtlCol="0" anchor="ctr">
            <a:noAutofit/>
          </a:bodyPr>
          <a:lstStyle>
            <a:lvl1pPr algn="r">
              <a:defRPr sz="1078">
                <a:solidFill>
                  <a:schemeClr val="bg1">
                    <a:lumMod val="65000"/>
                  </a:schemeClr>
                </a:solidFill>
              </a:defRPr>
            </a:lvl1pPr>
          </a:lstStyle>
          <a:p>
            <a:fld id="{9373C030-8119-439B-A7A2-330B51F4C009}" type="slidenum">
              <a:rPr lang="en-US" smtClean="0"/>
              <a:pPr/>
              <a:t>‹#›</a:t>
            </a:fld>
            <a:endParaRPr lang="en-US"/>
          </a:p>
        </p:txBody>
      </p:sp>
    </p:spTree>
    <p:extLst>
      <p:ext uri="{BB962C8B-B14F-4D97-AF65-F5344CB8AC3E}">
        <p14:creationId xmlns:p14="http://schemas.microsoft.com/office/powerpoint/2010/main" val="2413230286"/>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indows Devices Portfolio BETT 2017">
    <p:spTree>
      <p:nvGrpSpPr>
        <p:cNvPr id="1" name=""/>
        <p:cNvGrpSpPr/>
        <p:nvPr/>
      </p:nvGrpSpPr>
      <p:grpSpPr>
        <a:xfrm>
          <a:off x="0" y="0"/>
          <a:ext cx="0" cy="0"/>
          <a:chOff x="0" y="0"/>
          <a:chExt cx="0" cy="0"/>
        </a:xfrm>
      </p:grpSpPr>
      <p:sp>
        <p:nvSpPr>
          <p:cNvPr id="7" name="Date Placeholder 6"/>
          <p:cNvSpPr>
            <a:spLocks noGrp="1"/>
          </p:cNvSpPr>
          <p:nvPr>
            <p:ph type="dt" sz="half" idx="15"/>
          </p:nvPr>
        </p:nvSpPr>
        <p:spPr/>
        <p:txBody>
          <a:bodyPr/>
          <a:lstStyle/>
          <a:p>
            <a:fld id="{85FD39CC-F725-4780-862A-802C6E928CE5}" type="datetime1">
              <a:rPr lang="en-US" smtClean="0"/>
              <a:t>3/4/2019</a:t>
            </a:fld>
            <a:endParaRPr lang="en-US"/>
          </a:p>
        </p:txBody>
      </p:sp>
      <p:sp>
        <p:nvSpPr>
          <p:cNvPr id="8" name="Footer Placeholder 7"/>
          <p:cNvSpPr>
            <a:spLocks noGrp="1"/>
          </p:cNvSpPr>
          <p:nvPr>
            <p:ph type="ftr" sz="quarter" idx="16"/>
          </p:nvPr>
        </p:nvSpPr>
        <p:spPr/>
        <p:txBody>
          <a:bodyPr/>
          <a:lstStyle/>
          <a:p>
            <a:r>
              <a:rPr lang="en-US"/>
              <a:t>MICROSOFT CONFIDENTIAL</a:t>
            </a:r>
          </a:p>
        </p:txBody>
      </p:sp>
      <p:sp>
        <p:nvSpPr>
          <p:cNvPr id="9" name="Slide Number Placeholder 8"/>
          <p:cNvSpPr>
            <a:spLocks noGrp="1"/>
          </p:cNvSpPr>
          <p:nvPr>
            <p:ph type="sldNum" sz="quarter" idx="17"/>
          </p:nvPr>
        </p:nvSpPr>
        <p:spPr/>
        <p:txBody>
          <a:bodyPr/>
          <a:lstStyle/>
          <a:p>
            <a:fld id="{9373C030-8119-439B-A7A2-330B51F4C009}" type="slidenum">
              <a:rPr lang="en-US" smtClean="0"/>
              <a:pPr/>
              <a:t>‹#›</a:t>
            </a:fld>
            <a:endParaRPr lang="en-US"/>
          </a:p>
        </p:txBody>
      </p:sp>
      <p:sp>
        <p:nvSpPr>
          <p:cNvPr id="15" name="Content Placeholder 14"/>
          <p:cNvSpPr>
            <a:spLocks noGrp="1"/>
          </p:cNvSpPr>
          <p:nvPr userDrawn="1">
            <p:ph sz="quarter" idx="18" hasCustomPrompt="1"/>
          </p:nvPr>
        </p:nvSpPr>
        <p:spPr>
          <a:xfrm>
            <a:off x="792152" y="2068996"/>
            <a:ext cx="1792851" cy="981191"/>
          </a:xfrm>
        </p:spPr>
        <p:txBody>
          <a:bodyPr anchor="ctr"/>
          <a:lstStyle>
            <a:lvl1pPr algn="ctr">
              <a:defRPr sz="1174">
                <a:solidFill>
                  <a:srgbClr val="FF0000"/>
                </a:solidFill>
              </a:defRPr>
            </a:lvl1pPr>
          </a:lstStyle>
          <a:p>
            <a:pPr lvl="0"/>
            <a:r>
              <a:rPr lang="en-US"/>
              <a:t>Paste device image here</a:t>
            </a:r>
          </a:p>
        </p:txBody>
      </p:sp>
      <p:sp>
        <p:nvSpPr>
          <p:cNvPr id="20" name="Text Placeholder 19"/>
          <p:cNvSpPr>
            <a:spLocks noGrp="1"/>
          </p:cNvSpPr>
          <p:nvPr userDrawn="1">
            <p:ph type="body" sz="quarter" idx="22" hasCustomPrompt="1"/>
          </p:nvPr>
        </p:nvSpPr>
        <p:spPr>
          <a:xfrm>
            <a:off x="792152" y="3050187"/>
            <a:ext cx="1792851" cy="1153963"/>
          </a:xfrm>
        </p:spPr>
        <p:txBody>
          <a:bodyPr/>
          <a:lstStyle>
            <a:lvl1pPr algn="ctr">
              <a:lnSpc>
                <a:spcPct val="110000"/>
              </a:lnSpc>
              <a:spcBef>
                <a:spcPts val="0"/>
              </a:spcBef>
              <a:spcAft>
                <a:spcPts val="0"/>
              </a:spcAft>
              <a:defRPr sz="882"/>
            </a:lvl1pPr>
            <a:lvl2pPr algn="ctr">
              <a:lnSpc>
                <a:spcPct val="110000"/>
              </a:lnSpc>
              <a:spcBef>
                <a:spcPts val="0"/>
              </a:spcBef>
              <a:spcAft>
                <a:spcPts val="0"/>
              </a:spcAft>
              <a:defRPr sz="882"/>
            </a:lvl2pPr>
            <a:lvl3pPr algn="ctr">
              <a:spcBef>
                <a:spcPts val="0"/>
              </a:spcBef>
              <a:spcAft>
                <a:spcPts val="0"/>
              </a:spcAft>
              <a:defRPr sz="1027"/>
            </a:lvl3pPr>
            <a:lvl4pPr algn="ctr">
              <a:spcBef>
                <a:spcPts val="0"/>
              </a:spcBef>
              <a:spcAft>
                <a:spcPts val="0"/>
              </a:spcAft>
              <a:defRPr sz="1027"/>
            </a:lvl4pPr>
            <a:lvl5pPr algn="ctr">
              <a:spcBef>
                <a:spcPts val="0"/>
              </a:spcBef>
              <a:spcAft>
                <a:spcPts val="0"/>
              </a:spcAft>
              <a:defRPr sz="1027"/>
            </a:lvl5pPr>
          </a:lstStyle>
          <a:p>
            <a:pPr lvl="0"/>
            <a:r>
              <a:rPr lang="en-US"/>
              <a:t>Device Name</a:t>
            </a:r>
          </a:p>
          <a:p>
            <a:pPr lvl="1"/>
            <a:r>
              <a:rPr lang="en-US"/>
              <a:t>Second level</a:t>
            </a:r>
          </a:p>
        </p:txBody>
      </p:sp>
      <p:grpSp>
        <p:nvGrpSpPr>
          <p:cNvPr id="5" name="Group 4"/>
          <p:cNvGrpSpPr/>
          <p:nvPr userDrawn="1"/>
        </p:nvGrpSpPr>
        <p:grpSpPr>
          <a:xfrm>
            <a:off x="381293" y="1992543"/>
            <a:ext cx="11426464" cy="4499676"/>
            <a:chOff x="388939" y="1596826"/>
            <a:chExt cx="11655588" cy="3330892"/>
          </a:xfrm>
        </p:grpSpPr>
        <p:grpSp>
          <p:nvGrpSpPr>
            <p:cNvPr id="2" name="Group 1"/>
            <p:cNvGrpSpPr/>
            <p:nvPr userDrawn="1"/>
          </p:nvGrpSpPr>
          <p:grpSpPr>
            <a:xfrm>
              <a:off x="388939" y="1596827"/>
              <a:ext cx="291785" cy="3330891"/>
              <a:chOff x="388939" y="1596827"/>
              <a:chExt cx="291785" cy="3330891"/>
            </a:xfrm>
          </p:grpSpPr>
          <p:sp>
            <p:nvSpPr>
              <p:cNvPr id="11" name="TextBox 10"/>
              <p:cNvSpPr txBox="1"/>
              <p:nvPr userDrawn="1"/>
            </p:nvSpPr>
            <p:spPr>
              <a:xfrm rot="16200000">
                <a:off x="-283741" y="3963252"/>
                <a:ext cx="1637146" cy="291785"/>
              </a:xfrm>
              <a:prstGeom prst="rect">
                <a:avLst/>
              </a:prstGeom>
              <a:solidFill>
                <a:srgbClr val="0078D7"/>
              </a:solidFill>
            </p:spPr>
            <p:txBody>
              <a:bodyPr wrap="none" rtlCol="0" anchor="ctr">
                <a:noAutofit/>
              </a:bodyPr>
              <a:lstStyle/>
              <a:p>
                <a:pPr algn="ctr"/>
                <a:r>
                  <a:rPr lang="en-US" sz="1370">
                    <a:solidFill>
                      <a:schemeClr val="bg1"/>
                    </a:solidFill>
                    <a:latin typeface="Segoe UI Semibold" panose="020B0702040204020203" pitchFamily="34" charset="0"/>
                    <a:cs typeface="Segoe UI Semibold" panose="020B0702040204020203" pitchFamily="34" charset="0"/>
                  </a:rPr>
                  <a:t>Clamshell</a:t>
                </a:r>
              </a:p>
            </p:txBody>
          </p:sp>
          <p:sp>
            <p:nvSpPr>
              <p:cNvPr id="12" name="TextBox 11"/>
              <p:cNvSpPr txBox="1"/>
              <p:nvPr userDrawn="1"/>
            </p:nvSpPr>
            <p:spPr>
              <a:xfrm rot="16200000">
                <a:off x="-283741" y="2269507"/>
                <a:ext cx="1637146" cy="291785"/>
              </a:xfrm>
              <a:prstGeom prst="rect">
                <a:avLst/>
              </a:prstGeom>
              <a:solidFill>
                <a:srgbClr val="0078D7"/>
              </a:solidFill>
            </p:spPr>
            <p:txBody>
              <a:bodyPr wrap="none" rtlCol="0" anchor="ctr">
                <a:noAutofit/>
              </a:bodyPr>
              <a:lstStyle/>
              <a:p>
                <a:pPr algn="ctr"/>
                <a:r>
                  <a:rPr lang="en-US" sz="1370">
                    <a:solidFill>
                      <a:schemeClr val="bg1"/>
                    </a:solidFill>
                    <a:latin typeface="Segoe UI Semibold" panose="020B0702040204020203" pitchFamily="34" charset="0"/>
                    <a:cs typeface="Segoe UI Semibold" panose="020B0702040204020203" pitchFamily="34" charset="0"/>
                  </a:rPr>
                  <a:t>2 in 1</a:t>
                </a:r>
              </a:p>
            </p:txBody>
          </p:sp>
        </p:grpSp>
        <p:cxnSp>
          <p:nvCxnSpPr>
            <p:cNvPr id="30" name="Straight Connector 29"/>
            <p:cNvCxnSpPr>
              <a:cxnSpLocks/>
            </p:cNvCxnSpPr>
            <p:nvPr userDrawn="1"/>
          </p:nvCxnSpPr>
          <p:spPr>
            <a:xfrm flipV="1">
              <a:off x="388940" y="1596826"/>
              <a:ext cx="11655587" cy="1"/>
            </a:xfrm>
            <a:prstGeom prst="line">
              <a:avLst/>
            </a:prstGeom>
            <a:ln w="127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cxnSpLocks/>
            </p:cNvCxnSpPr>
            <p:nvPr userDrawn="1"/>
          </p:nvCxnSpPr>
          <p:spPr>
            <a:xfrm>
              <a:off x="388940" y="3290570"/>
              <a:ext cx="11655587" cy="0"/>
            </a:xfrm>
            <a:prstGeom prst="line">
              <a:avLst/>
            </a:prstGeom>
            <a:ln w="127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4" name="Title 63"/>
          <p:cNvSpPr>
            <a:spLocks noGrp="1"/>
          </p:cNvSpPr>
          <p:nvPr userDrawn="1">
            <p:ph type="title"/>
          </p:nvPr>
        </p:nvSpPr>
        <p:spPr>
          <a:xfrm>
            <a:off x="381293" y="235037"/>
            <a:ext cx="11426462" cy="603538"/>
          </a:xfrm>
        </p:spPr>
        <p:txBody>
          <a:bodyPr/>
          <a:lstStyle/>
          <a:p>
            <a:r>
              <a:rPr lang="en-US"/>
              <a:t>Click to edit Master title style</a:t>
            </a:r>
          </a:p>
        </p:txBody>
      </p:sp>
      <p:sp>
        <p:nvSpPr>
          <p:cNvPr id="65" name="Text Placeholder 2"/>
          <p:cNvSpPr>
            <a:spLocks noGrp="1"/>
          </p:cNvSpPr>
          <p:nvPr userDrawn="1">
            <p:ph type="body" sz="quarter" idx="14"/>
          </p:nvPr>
        </p:nvSpPr>
        <p:spPr>
          <a:xfrm>
            <a:off x="381296" y="838965"/>
            <a:ext cx="3007457" cy="452654"/>
          </a:xfrm>
        </p:spPr>
        <p:txBody>
          <a:bodyPr wrap="none">
            <a:spAutoFit/>
          </a:bodyPr>
          <a:lstStyle>
            <a:lvl1pPr>
              <a:defRPr lang="en-US" sz="2353" kern="1200" baseline="0" dirty="0">
                <a:gradFill>
                  <a:gsLst>
                    <a:gs pos="2917">
                      <a:schemeClr val="tx1">
                        <a:lumMod val="75000"/>
                      </a:schemeClr>
                    </a:gs>
                    <a:gs pos="100000">
                      <a:schemeClr val="tx1">
                        <a:lumMod val="75000"/>
                      </a:schemeClr>
                    </a:gs>
                  </a:gsLst>
                  <a:lin ang="5400000" scaled="0"/>
                </a:gradFill>
                <a:latin typeface="Segoe UI Semibold" panose="020B0702040204020203" pitchFamily="34" charset="0"/>
                <a:ea typeface="+mn-ea"/>
                <a:cs typeface="Segoe UI Semibold" panose="020B0702040204020203" pitchFamily="34" charset="0"/>
              </a:defRPr>
            </a:lvl1pPr>
          </a:lstStyle>
          <a:p>
            <a:pPr lvl="0"/>
            <a:r>
              <a:rPr lang="en-US"/>
              <a:t>Edit Master text styles</a:t>
            </a:r>
          </a:p>
        </p:txBody>
      </p:sp>
      <p:sp>
        <p:nvSpPr>
          <p:cNvPr id="81" name="Content Placeholder 14"/>
          <p:cNvSpPr>
            <a:spLocks noGrp="1"/>
          </p:cNvSpPr>
          <p:nvPr>
            <p:ph sz="quarter" idx="29" hasCustomPrompt="1"/>
          </p:nvPr>
        </p:nvSpPr>
        <p:spPr>
          <a:xfrm>
            <a:off x="1233639" y="1291618"/>
            <a:ext cx="909875" cy="690988"/>
          </a:xfrm>
        </p:spPr>
        <p:txBody>
          <a:bodyPr anchor="ctr"/>
          <a:lstStyle>
            <a:lvl1pPr algn="ctr">
              <a:defRPr sz="1174">
                <a:solidFill>
                  <a:srgbClr val="FF0000"/>
                </a:solidFill>
              </a:defRPr>
            </a:lvl1pPr>
          </a:lstStyle>
          <a:p>
            <a:pPr lvl="0"/>
            <a:r>
              <a:rPr lang="en-US"/>
              <a:t>Logo</a:t>
            </a:r>
          </a:p>
        </p:txBody>
      </p:sp>
      <p:sp>
        <p:nvSpPr>
          <p:cNvPr id="85" name="Content Placeholder 14"/>
          <p:cNvSpPr>
            <a:spLocks noGrp="1"/>
          </p:cNvSpPr>
          <p:nvPr>
            <p:ph sz="quarter" idx="33" hasCustomPrompt="1"/>
          </p:nvPr>
        </p:nvSpPr>
        <p:spPr>
          <a:xfrm>
            <a:off x="792152" y="4362847"/>
            <a:ext cx="1792851" cy="981191"/>
          </a:xfrm>
        </p:spPr>
        <p:txBody>
          <a:bodyPr anchor="ctr"/>
          <a:lstStyle>
            <a:lvl1pPr algn="ctr">
              <a:defRPr sz="1174">
                <a:solidFill>
                  <a:srgbClr val="FF0000"/>
                </a:solidFill>
              </a:defRPr>
            </a:lvl1pPr>
          </a:lstStyle>
          <a:p>
            <a:pPr lvl="0"/>
            <a:r>
              <a:rPr lang="en-US"/>
              <a:t>Paste device image here</a:t>
            </a:r>
          </a:p>
        </p:txBody>
      </p:sp>
      <p:sp>
        <p:nvSpPr>
          <p:cNvPr id="86" name="Text Placeholder 19"/>
          <p:cNvSpPr>
            <a:spLocks noGrp="1"/>
          </p:cNvSpPr>
          <p:nvPr>
            <p:ph type="body" sz="quarter" idx="34" hasCustomPrompt="1"/>
          </p:nvPr>
        </p:nvSpPr>
        <p:spPr>
          <a:xfrm>
            <a:off x="792152" y="5344038"/>
            <a:ext cx="1792851" cy="1153963"/>
          </a:xfrm>
        </p:spPr>
        <p:txBody>
          <a:bodyPr/>
          <a:lstStyle>
            <a:lvl1pPr algn="ctr">
              <a:lnSpc>
                <a:spcPct val="110000"/>
              </a:lnSpc>
              <a:spcBef>
                <a:spcPts val="0"/>
              </a:spcBef>
              <a:spcAft>
                <a:spcPts val="0"/>
              </a:spcAft>
              <a:defRPr sz="882"/>
            </a:lvl1pPr>
            <a:lvl2pPr algn="ctr">
              <a:lnSpc>
                <a:spcPct val="110000"/>
              </a:lnSpc>
              <a:spcBef>
                <a:spcPts val="0"/>
              </a:spcBef>
              <a:spcAft>
                <a:spcPts val="0"/>
              </a:spcAft>
              <a:defRPr sz="882"/>
            </a:lvl2pPr>
            <a:lvl3pPr algn="ctr">
              <a:spcBef>
                <a:spcPts val="0"/>
              </a:spcBef>
              <a:spcAft>
                <a:spcPts val="0"/>
              </a:spcAft>
              <a:defRPr sz="1027"/>
            </a:lvl3pPr>
            <a:lvl4pPr algn="ctr">
              <a:spcBef>
                <a:spcPts val="0"/>
              </a:spcBef>
              <a:spcAft>
                <a:spcPts val="0"/>
              </a:spcAft>
              <a:defRPr sz="1027"/>
            </a:lvl4pPr>
            <a:lvl5pPr algn="ctr">
              <a:spcBef>
                <a:spcPts val="0"/>
              </a:spcBef>
              <a:spcAft>
                <a:spcPts val="0"/>
              </a:spcAft>
              <a:defRPr sz="1027"/>
            </a:lvl5pPr>
          </a:lstStyle>
          <a:p>
            <a:pPr lvl="0"/>
            <a:r>
              <a:rPr lang="en-US"/>
              <a:t>Device Name</a:t>
            </a:r>
          </a:p>
          <a:p>
            <a:pPr lvl="1"/>
            <a:r>
              <a:rPr lang="en-US"/>
              <a:t>Second level</a:t>
            </a:r>
          </a:p>
        </p:txBody>
      </p:sp>
      <p:sp>
        <p:nvSpPr>
          <p:cNvPr id="37" name="Content Placeholder 14"/>
          <p:cNvSpPr>
            <a:spLocks noGrp="1"/>
          </p:cNvSpPr>
          <p:nvPr>
            <p:ph sz="quarter" idx="35" hasCustomPrompt="1"/>
          </p:nvPr>
        </p:nvSpPr>
        <p:spPr>
          <a:xfrm>
            <a:off x="3097841" y="2068996"/>
            <a:ext cx="1792851" cy="981191"/>
          </a:xfrm>
        </p:spPr>
        <p:txBody>
          <a:bodyPr anchor="ctr"/>
          <a:lstStyle>
            <a:lvl1pPr algn="ctr">
              <a:defRPr sz="1174">
                <a:solidFill>
                  <a:srgbClr val="FF0000"/>
                </a:solidFill>
              </a:defRPr>
            </a:lvl1pPr>
          </a:lstStyle>
          <a:p>
            <a:pPr lvl="0"/>
            <a:r>
              <a:rPr lang="en-US"/>
              <a:t>Paste device image here</a:t>
            </a:r>
          </a:p>
        </p:txBody>
      </p:sp>
      <p:sp>
        <p:nvSpPr>
          <p:cNvPr id="38" name="Text Placeholder 19"/>
          <p:cNvSpPr>
            <a:spLocks noGrp="1"/>
          </p:cNvSpPr>
          <p:nvPr>
            <p:ph type="body" sz="quarter" idx="36" hasCustomPrompt="1"/>
          </p:nvPr>
        </p:nvSpPr>
        <p:spPr>
          <a:xfrm>
            <a:off x="3097840" y="3050187"/>
            <a:ext cx="1792851" cy="1153963"/>
          </a:xfrm>
        </p:spPr>
        <p:txBody>
          <a:bodyPr/>
          <a:lstStyle>
            <a:lvl1pPr algn="ctr">
              <a:lnSpc>
                <a:spcPct val="110000"/>
              </a:lnSpc>
              <a:spcBef>
                <a:spcPts val="0"/>
              </a:spcBef>
              <a:spcAft>
                <a:spcPts val="0"/>
              </a:spcAft>
              <a:defRPr sz="882"/>
            </a:lvl1pPr>
            <a:lvl2pPr algn="ctr">
              <a:lnSpc>
                <a:spcPct val="110000"/>
              </a:lnSpc>
              <a:spcBef>
                <a:spcPts val="0"/>
              </a:spcBef>
              <a:spcAft>
                <a:spcPts val="0"/>
              </a:spcAft>
              <a:defRPr sz="882"/>
            </a:lvl2pPr>
            <a:lvl3pPr algn="ctr">
              <a:spcBef>
                <a:spcPts val="0"/>
              </a:spcBef>
              <a:spcAft>
                <a:spcPts val="0"/>
              </a:spcAft>
              <a:defRPr sz="1027"/>
            </a:lvl3pPr>
            <a:lvl4pPr algn="ctr">
              <a:spcBef>
                <a:spcPts val="0"/>
              </a:spcBef>
              <a:spcAft>
                <a:spcPts val="0"/>
              </a:spcAft>
              <a:defRPr sz="1027"/>
            </a:lvl4pPr>
            <a:lvl5pPr algn="ctr">
              <a:spcBef>
                <a:spcPts val="0"/>
              </a:spcBef>
              <a:spcAft>
                <a:spcPts val="0"/>
              </a:spcAft>
              <a:defRPr sz="1027"/>
            </a:lvl5pPr>
          </a:lstStyle>
          <a:p>
            <a:pPr lvl="0"/>
            <a:r>
              <a:rPr lang="en-US"/>
              <a:t>Device Name</a:t>
            </a:r>
          </a:p>
          <a:p>
            <a:pPr lvl="1"/>
            <a:r>
              <a:rPr lang="en-US"/>
              <a:t>Second level</a:t>
            </a:r>
          </a:p>
        </p:txBody>
      </p:sp>
      <p:sp>
        <p:nvSpPr>
          <p:cNvPr id="39" name="Content Placeholder 14"/>
          <p:cNvSpPr>
            <a:spLocks noGrp="1"/>
          </p:cNvSpPr>
          <p:nvPr>
            <p:ph sz="quarter" idx="37" hasCustomPrompt="1"/>
          </p:nvPr>
        </p:nvSpPr>
        <p:spPr>
          <a:xfrm>
            <a:off x="3539327" y="1291618"/>
            <a:ext cx="909875" cy="690988"/>
          </a:xfrm>
        </p:spPr>
        <p:txBody>
          <a:bodyPr anchor="ctr"/>
          <a:lstStyle>
            <a:lvl1pPr algn="ctr">
              <a:defRPr sz="1174">
                <a:solidFill>
                  <a:srgbClr val="FF0000"/>
                </a:solidFill>
              </a:defRPr>
            </a:lvl1pPr>
          </a:lstStyle>
          <a:p>
            <a:pPr lvl="0"/>
            <a:r>
              <a:rPr lang="en-US"/>
              <a:t>Logo</a:t>
            </a:r>
          </a:p>
        </p:txBody>
      </p:sp>
      <p:sp>
        <p:nvSpPr>
          <p:cNvPr id="40" name="Content Placeholder 14"/>
          <p:cNvSpPr>
            <a:spLocks noGrp="1"/>
          </p:cNvSpPr>
          <p:nvPr>
            <p:ph sz="quarter" idx="38" hasCustomPrompt="1"/>
          </p:nvPr>
        </p:nvSpPr>
        <p:spPr>
          <a:xfrm>
            <a:off x="3097840" y="4362847"/>
            <a:ext cx="1792851" cy="981191"/>
          </a:xfrm>
        </p:spPr>
        <p:txBody>
          <a:bodyPr anchor="ctr"/>
          <a:lstStyle>
            <a:lvl1pPr algn="ctr">
              <a:defRPr sz="1174">
                <a:solidFill>
                  <a:srgbClr val="FF0000"/>
                </a:solidFill>
              </a:defRPr>
            </a:lvl1pPr>
          </a:lstStyle>
          <a:p>
            <a:pPr lvl="0"/>
            <a:r>
              <a:rPr lang="en-US"/>
              <a:t>Paste device image here</a:t>
            </a:r>
          </a:p>
        </p:txBody>
      </p:sp>
      <p:sp>
        <p:nvSpPr>
          <p:cNvPr id="41" name="Text Placeholder 19"/>
          <p:cNvSpPr>
            <a:spLocks noGrp="1"/>
          </p:cNvSpPr>
          <p:nvPr>
            <p:ph type="body" sz="quarter" idx="39" hasCustomPrompt="1"/>
          </p:nvPr>
        </p:nvSpPr>
        <p:spPr>
          <a:xfrm>
            <a:off x="3097840" y="5344038"/>
            <a:ext cx="1792851" cy="1153963"/>
          </a:xfrm>
        </p:spPr>
        <p:txBody>
          <a:bodyPr/>
          <a:lstStyle>
            <a:lvl1pPr algn="ctr">
              <a:lnSpc>
                <a:spcPct val="110000"/>
              </a:lnSpc>
              <a:spcBef>
                <a:spcPts val="0"/>
              </a:spcBef>
              <a:spcAft>
                <a:spcPts val="0"/>
              </a:spcAft>
              <a:defRPr sz="882"/>
            </a:lvl1pPr>
            <a:lvl2pPr algn="ctr">
              <a:lnSpc>
                <a:spcPct val="110000"/>
              </a:lnSpc>
              <a:spcBef>
                <a:spcPts val="0"/>
              </a:spcBef>
              <a:spcAft>
                <a:spcPts val="0"/>
              </a:spcAft>
              <a:defRPr sz="882"/>
            </a:lvl2pPr>
            <a:lvl3pPr algn="ctr">
              <a:spcBef>
                <a:spcPts val="0"/>
              </a:spcBef>
              <a:spcAft>
                <a:spcPts val="0"/>
              </a:spcAft>
              <a:defRPr sz="1027"/>
            </a:lvl3pPr>
            <a:lvl4pPr algn="ctr">
              <a:spcBef>
                <a:spcPts val="0"/>
              </a:spcBef>
              <a:spcAft>
                <a:spcPts val="0"/>
              </a:spcAft>
              <a:defRPr sz="1027"/>
            </a:lvl4pPr>
            <a:lvl5pPr algn="ctr">
              <a:spcBef>
                <a:spcPts val="0"/>
              </a:spcBef>
              <a:spcAft>
                <a:spcPts val="0"/>
              </a:spcAft>
              <a:defRPr sz="1027"/>
            </a:lvl5pPr>
          </a:lstStyle>
          <a:p>
            <a:pPr lvl="0"/>
            <a:r>
              <a:rPr lang="en-US"/>
              <a:t>Device Name</a:t>
            </a:r>
          </a:p>
          <a:p>
            <a:pPr lvl="1"/>
            <a:r>
              <a:rPr lang="en-US"/>
              <a:t>Second level</a:t>
            </a:r>
          </a:p>
        </p:txBody>
      </p:sp>
      <p:sp>
        <p:nvSpPr>
          <p:cNvPr id="42" name="Content Placeholder 14"/>
          <p:cNvSpPr>
            <a:spLocks noGrp="1"/>
          </p:cNvSpPr>
          <p:nvPr>
            <p:ph sz="quarter" idx="40" hasCustomPrompt="1"/>
          </p:nvPr>
        </p:nvSpPr>
        <p:spPr>
          <a:xfrm>
            <a:off x="5403529" y="2068996"/>
            <a:ext cx="1792851" cy="981191"/>
          </a:xfrm>
        </p:spPr>
        <p:txBody>
          <a:bodyPr anchor="ctr"/>
          <a:lstStyle>
            <a:lvl1pPr algn="ctr">
              <a:defRPr sz="1174">
                <a:solidFill>
                  <a:srgbClr val="FF0000"/>
                </a:solidFill>
              </a:defRPr>
            </a:lvl1pPr>
          </a:lstStyle>
          <a:p>
            <a:pPr lvl="0"/>
            <a:r>
              <a:rPr lang="en-US"/>
              <a:t>Paste device image here</a:t>
            </a:r>
          </a:p>
        </p:txBody>
      </p:sp>
      <p:sp>
        <p:nvSpPr>
          <p:cNvPr id="43" name="Text Placeholder 19"/>
          <p:cNvSpPr>
            <a:spLocks noGrp="1"/>
          </p:cNvSpPr>
          <p:nvPr>
            <p:ph type="body" sz="quarter" idx="41" hasCustomPrompt="1"/>
          </p:nvPr>
        </p:nvSpPr>
        <p:spPr>
          <a:xfrm>
            <a:off x="5403528" y="3050187"/>
            <a:ext cx="1792851" cy="1153963"/>
          </a:xfrm>
        </p:spPr>
        <p:txBody>
          <a:bodyPr/>
          <a:lstStyle>
            <a:lvl1pPr algn="ctr">
              <a:lnSpc>
                <a:spcPct val="110000"/>
              </a:lnSpc>
              <a:spcBef>
                <a:spcPts val="0"/>
              </a:spcBef>
              <a:spcAft>
                <a:spcPts val="0"/>
              </a:spcAft>
              <a:defRPr sz="882"/>
            </a:lvl1pPr>
            <a:lvl2pPr algn="ctr">
              <a:lnSpc>
                <a:spcPct val="110000"/>
              </a:lnSpc>
              <a:spcBef>
                <a:spcPts val="0"/>
              </a:spcBef>
              <a:spcAft>
                <a:spcPts val="0"/>
              </a:spcAft>
              <a:defRPr sz="882"/>
            </a:lvl2pPr>
            <a:lvl3pPr algn="ctr">
              <a:spcBef>
                <a:spcPts val="0"/>
              </a:spcBef>
              <a:spcAft>
                <a:spcPts val="0"/>
              </a:spcAft>
              <a:defRPr sz="1027"/>
            </a:lvl3pPr>
            <a:lvl4pPr algn="ctr">
              <a:spcBef>
                <a:spcPts val="0"/>
              </a:spcBef>
              <a:spcAft>
                <a:spcPts val="0"/>
              </a:spcAft>
              <a:defRPr sz="1027"/>
            </a:lvl4pPr>
            <a:lvl5pPr algn="ctr">
              <a:spcBef>
                <a:spcPts val="0"/>
              </a:spcBef>
              <a:spcAft>
                <a:spcPts val="0"/>
              </a:spcAft>
              <a:defRPr sz="1027"/>
            </a:lvl5pPr>
          </a:lstStyle>
          <a:p>
            <a:pPr lvl="0"/>
            <a:r>
              <a:rPr lang="en-US"/>
              <a:t>Device Name</a:t>
            </a:r>
          </a:p>
          <a:p>
            <a:pPr lvl="1"/>
            <a:r>
              <a:rPr lang="en-US"/>
              <a:t>Second level</a:t>
            </a:r>
          </a:p>
        </p:txBody>
      </p:sp>
      <p:sp>
        <p:nvSpPr>
          <p:cNvPr id="44" name="Content Placeholder 14"/>
          <p:cNvSpPr>
            <a:spLocks noGrp="1"/>
          </p:cNvSpPr>
          <p:nvPr>
            <p:ph sz="quarter" idx="42" hasCustomPrompt="1"/>
          </p:nvPr>
        </p:nvSpPr>
        <p:spPr>
          <a:xfrm>
            <a:off x="5845015" y="1291618"/>
            <a:ext cx="909875" cy="690988"/>
          </a:xfrm>
        </p:spPr>
        <p:txBody>
          <a:bodyPr anchor="ctr"/>
          <a:lstStyle>
            <a:lvl1pPr algn="ctr">
              <a:defRPr sz="1174">
                <a:solidFill>
                  <a:srgbClr val="FF0000"/>
                </a:solidFill>
              </a:defRPr>
            </a:lvl1pPr>
          </a:lstStyle>
          <a:p>
            <a:pPr lvl="0"/>
            <a:r>
              <a:rPr lang="en-US"/>
              <a:t>Logo</a:t>
            </a:r>
          </a:p>
        </p:txBody>
      </p:sp>
      <p:sp>
        <p:nvSpPr>
          <p:cNvPr id="45" name="Content Placeholder 14"/>
          <p:cNvSpPr>
            <a:spLocks noGrp="1"/>
          </p:cNvSpPr>
          <p:nvPr>
            <p:ph sz="quarter" idx="43" hasCustomPrompt="1"/>
          </p:nvPr>
        </p:nvSpPr>
        <p:spPr>
          <a:xfrm>
            <a:off x="5403528" y="4362847"/>
            <a:ext cx="1792851" cy="981191"/>
          </a:xfrm>
        </p:spPr>
        <p:txBody>
          <a:bodyPr anchor="ctr"/>
          <a:lstStyle>
            <a:lvl1pPr algn="ctr">
              <a:defRPr sz="1174">
                <a:solidFill>
                  <a:srgbClr val="FF0000"/>
                </a:solidFill>
              </a:defRPr>
            </a:lvl1pPr>
          </a:lstStyle>
          <a:p>
            <a:pPr lvl="0"/>
            <a:r>
              <a:rPr lang="en-US"/>
              <a:t>Paste device image here</a:t>
            </a:r>
          </a:p>
        </p:txBody>
      </p:sp>
      <p:sp>
        <p:nvSpPr>
          <p:cNvPr id="46" name="Text Placeholder 19"/>
          <p:cNvSpPr>
            <a:spLocks noGrp="1"/>
          </p:cNvSpPr>
          <p:nvPr>
            <p:ph type="body" sz="quarter" idx="44" hasCustomPrompt="1"/>
          </p:nvPr>
        </p:nvSpPr>
        <p:spPr>
          <a:xfrm>
            <a:off x="5403528" y="5344038"/>
            <a:ext cx="1792851" cy="1153963"/>
          </a:xfrm>
        </p:spPr>
        <p:txBody>
          <a:bodyPr/>
          <a:lstStyle>
            <a:lvl1pPr algn="ctr">
              <a:lnSpc>
                <a:spcPct val="110000"/>
              </a:lnSpc>
              <a:spcBef>
                <a:spcPts val="0"/>
              </a:spcBef>
              <a:spcAft>
                <a:spcPts val="0"/>
              </a:spcAft>
              <a:defRPr sz="882"/>
            </a:lvl1pPr>
            <a:lvl2pPr algn="ctr">
              <a:lnSpc>
                <a:spcPct val="110000"/>
              </a:lnSpc>
              <a:spcBef>
                <a:spcPts val="0"/>
              </a:spcBef>
              <a:spcAft>
                <a:spcPts val="0"/>
              </a:spcAft>
              <a:defRPr sz="882"/>
            </a:lvl2pPr>
            <a:lvl3pPr algn="ctr">
              <a:spcBef>
                <a:spcPts val="0"/>
              </a:spcBef>
              <a:spcAft>
                <a:spcPts val="0"/>
              </a:spcAft>
              <a:defRPr sz="1027"/>
            </a:lvl3pPr>
            <a:lvl4pPr algn="ctr">
              <a:spcBef>
                <a:spcPts val="0"/>
              </a:spcBef>
              <a:spcAft>
                <a:spcPts val="0"/>
              </a:spcAft>
              <a:defRPr sz="1027"/>
            </a:lvl4pPr>
            <a:lvl5pPr algn="ctr">
              <a:spcBef>
                <a:spcPts val="0"/>
              </a:spcBef>
              <a:spcAft>
                <a:spcPts val="0"/>
              </a:spcAft>
              <a:defRPr sz="1027"/>
            </a:lvl5pPr>
          </a:lstStyle>
          <a:p>
            <a:pPr lvl="0"/>
            <a:r>
              <a:rPr lang="en-US"/>
              <a:t>Device Name</a:t>
            </a:r>
          </a:p>
          <a:p>
            <a:pPr lvl="1"/>
            <a:r>
              <a:rPr lang="en-US"/>
              <a:t>Second level</a:t>
            </a:r>
          </a:p>
        </p:txBody>
      </p:sp>
      <p:sp>
        <p:nvSpPr>
          <p:cNvPr id="47" name="Content Placeholder 14"/>
          <p:cNvSpPr>
            <a:spLocks noGrp="1"/>
          </p:cNvSpPr>
          <p:nvPr>
            <p:ph sz="quarter" idx="45" hasCustomPrompt="1"/>
          </p:nvPr>
        </p:nvSpPr>
        <p:spPr>
          <a:xfrm>
            <a:off x="7709218" y="2068996"/>
            <a:ext cx="1792851" cy="981191"/>
          </a:xfrm>
        </p:spPr>
        <p:txBody>
          <a:bodyPr anchor="ctr"/>
          <a:lstStyle>
            <a:lvl1pPr algn="ctr">
              <a:defRPr sz="1174">
                <a:solidFill>
                  <a:srgbClr val="FF0000"/>
                </a:solidFill>
              </a:defRPr>
            </a:lvl1pPr>
          </a:lstStyle>
          <a:p>
            <a:pPr lvl="0"/>
            <a:r>
              <a:rPr lang="en-US"/>
              <a:t>Paste device image here</a:t>
            </a:r>
          </a:p>
        </p:txBody>
      </p:sp>
      <p:sp>
        <p:nvSpPr>
          <p:cNvPr id="48" name="Text Placeholder 19"/>
          <p:cNvSpPr>
            <a:spLocks noGrp="1"/>
          </p:cNvSpPr>
          <p:nvPr>
            <p:ph type="body" sz="quarter" idx="46" hasCustomPrompt="1"/>
          </p:nvPr>
        </p:nvSpPr>
        <p:spPr>
          <a:xfrm>
            <a:off x="7709216" y="3050187"/>
            <a:ext cx="1792851" cy="1153963"/>
          </a:xfrm>
        </p:spPr>
        <p:txBody>
          <a:bodyPr/>
          <a:lstStyle>
            <a:lvl1pPr algn="ctr">
              <a:lnSpc>
                <a:spcPct val="110000"/>
              </a:lnSpc>
              <a:spcBef>
                <a:spcPts val="0"/>
              </a:spcBef>
              <a:spcAft>
                <a:spcPts val="0"/>
              </a:spcAft>
              <a:defRPr sz="882"/>
            </a:lvl1pPr>
            <a:lvl2pPr algn="ctr">
              <a:lnSpc>
                <a:spcPct val="110000"/>
              </a:lnSpc>
              <a:spcBef>
                <a:spcPts val="0"/>
              </a:spcBef>
              <a:spcAft>
                <a:spcPts val="0"/>
              </a:spcAft>
              <a:defRPr sz="882"/>
            </a:lvl2pPr>
            <a:lvl3pPr algn="ctr">
              <a:spcBef>
                <a:spcPts val="0"/>
              </a:spcBef>
              <a:spcAft>
                <a:spcPts val="0"/>
              </a:spcAft>
              <a:defRPr sz="1027"/>
            </a:lvl3pPr>
            <a:lvl4pPr algn="ctr">
              <a:spcBef>
                <a:spcPts val="0"/>
              </a:spcBef>
              <a:spcAft>
                <a:spcPts val="0"/>
              </a:spcAft>
              <a:defRPr sz="1027"/>
            </a:lvl4pPr>
            <a:lvl5pPr algn="ctr">
              <a:spcBef>
                <a:spcPts val="0"/>
              </a:spcBef>
              <a:spcAft>
                <a:spcPts val="0"/>
              </a:spcAft>
              <a:defRPr sz="1027"/>
            </a:lvl5pPr>
          </a:lstStyle>
          <a:p>
            <a:pPr lvl="0"/>
            <a:r>
              <a:rPr lang="en-US"/>
              <a:t>Device Name</a:t>
            </a:r>
          </a:p>
          <a:p>
            <a:pPr lvl="1"/>
            <a:r>
              <a:rPr lang="en-US"/>
              <a:t>Second level</a:t>
            </a:r>
          </a:p>
        </p:txBody>
      </p:sp>
      <p:sp>
        <p:nvSpPr>
          <p:cNvPr id="49" name="Content Placeholder 14"/>
          <p:cNvSpPr>
            <a:spLocks noGrp="1"/>
          </p:cNvSpPr>
          <p:nvPr>
            <p:ph sz="quarter" idx="47" hasCustomPrompt="1"/>
          </p:nvPr>
        </p:nvSpPr>
        <p:spPr>
          <a:xfrm>
            <a:off x="8150703" y="1291618"/>
            <a:ext cx="909875" cy="690988"/>
          </a:xfrm>
        </p:spPr>
        <p:txBody>
          <a:bodyPr anchor="ctr"/>
          <a:lstStyle>
            <a:lvl1pPr algn="ctr">
              <a:defRPr sz="1174">
                <a:solidFill>
                  <a:srgbClr val="FF0000"/>
                </a:solidFill>
              </a:defRPr>
            </a:lvl1pPr>
          </a:lstStyle>
          <a:p>
            <a:pPr lvl="0"/>
            <a:r>
              <a:rPr lang="en-US"/>
              <a:t>Logo</a:t>
            </a:r>
          </a:p>
        </p:txBody>
      </p:sp>
      <p:sp>
        <p:nvSpPr>
          <p:cNvPr id="50" name="Content Placeholder 14"/>
          <p:cNvSpPr>
            <a:spLocks noGrp="1"/>
          </p:cNvSpPr>
          <p:nvPr>
            <p:ph sz="quarter" idx="48" hasCustomPrompt="1"/>
          </p:nvPr>
        </p:nvSpPr>
        <p:spPr>
          <a:xfrm>
            <a:off x="7709216" y="4362847"/>
            <a:ext cx="1792851" cy="981191"/>
          </a:xfrm>
        </p:spPr>
        <p:txBody>
          <a:bodyPr anchor="ctr"/>
          <a:lstStyle>
            <a:lvl1pPr algn="ctr">
              <a:defRPr sz="1174">
                <a:solidFill>
                  <a:srgbClr val="FF0000"/>
                </a:solidFill>
              </a:defRPr>
            </a:lvl1pPr>
          </a:lstStyle>
          <a:p>
            <a:pPr lvl="0"/>
            <a:r>
              <a:rPr lang="en-US"/>
              <a:t>Paste device image here</a:t>
            </a:r>
          </a:p>
        </p:txBody>
      </p:sp>
      <p:sp>
        <p:nvSpPr>
          <p:cNvPr id="51" name="Text Placeholder 19"/>
          <p:cNvSpPr>
            <a:spLocks noGrp="1"/>
          </p:cNvSpPr>
          <p:nvPr>
            <p:ph type="body" sz="quarter" idx="49" hasCustomPrompt="1"/>
          </p:nvPr>
        </p:nvSpPr>
        <p:spPr>
          <a:xfrm>
            <a:off x="7709216" y="5344038"/>
            <a:ext cx="1792851" cy="1153963"/>
          </a:xfrm>
        </p:spPr>
        <p:txBody>
          <a:bodyPr/>
          <a:lstStyle>
            <a:lvl1pPr algn="ctr">
              <a:lnSpc>
                <a:spcPct val="110000"/>
              </a:lnSpc>
              <a:spcBef>
                <a:spcPts val="0"/>
              </a:spcBef>
              <a:spcAft>
                <a:spcPts val="0"/>
              </a:spcAft>
              <a:defRPr sz="882"/>
            </a:lvl1pPr>
            <a:lvl2pPr algn="ctr">
              <a:lnSpc>
                <a:spcPct val="110000"/>
              </a:lnSpc>
              <a:spcBef>
                <a:spcPts val="0"/>
              </a:spcBef>
              <a:spcAft>
                <a:spcPts val="0"/>
              </a:spcAft>
              <a:defRPr sz="882"/>
            </a:lvl2pPr>
            <a:lvl3pPr algn="ctr">
              <a:spcBef>
                <a:spcPts val="0"/>
              </a:spcBef>
              <a:spcAft>
                <a:spcPts val="0"/>
              </a:spcAft>
              <a:defRPr sz="1027"/>
            </a:lvl3pPr>
            <a:lvl4pPr algn="ctr">
              <a:spcBef>
                <a:spcPts val="0"/>
              </a:spcBef>
              <a:spcAft>
                <a:spcPts val="0"/>
              </a:spcAft>
              <a:defRPr sz="1027"/>
            </a:lvl4pPr>
            <a:lvl5pPr algn="ctr">
              <a:spcBef>
                <a:spcPts val="0"/>
              </a:spcBef>
              <a:spcAft>
                <a:spcPts val="0"/>
              </a:spcAft>
              <a:defRPr sz="1027"/>
            </a:lvl5pPr>
          </a:lstStyle>
          <a:p>
            <a:pPr lvl="0"/>
            <a:r>
              <a:rPr lang="en-US"/>
              <a:t>Device Name</a:t>
            </a:r>
          </a:p>
          <a:p>
            <a:pPr lvl="1"/>
            <a:r>
              <a:rPr lang="en-US"/>
              <a:t>Second level</a:t>
            </a:r>
          </a:p>
        </p:txBody>
      </p:sp>
      <p:sp>
        <p:nvSpPr>
          <p:cNvPr id="61" name="Content Placeholder 14"/>
          <p:cNvSpPr>
            <a:spLocks noGrp="1"/>
          </p:cNvSpPr>
          <p:nvPr>
            <p:ph sz="quarter" idx="50" hasCustomPrompt="1"/>
          </p:nvPr>
        </p:nvSpPr>
        <p:spPr>
          <a:xfrm>
            <a:off x="10014905" y="2068996"/>
            <a:ext cx="1792851" cy="981191"/>
          </a:xfrm>
        </p:spPr>
        <p:txBody>
          <a:bodyPr anchor="ctr"/>
          <a:lstStyle>
            <a:lvl1pPr algn="ctr">
              <a:defRPr sz="1174">
                <a:solidFill>
                  <a:srgbClr val="FF0000"/>
                </a:solidFill>
              </a:defRPr>
            </a:lvl1pPr>
          </a:lstStyle>
          <a:p>
            <a:pPr lvl="0"/>
            <a:r>
              <a:rPr lang="en-US"/>
              <a:t>Paste device image here</a:t>
            </a:r>
          </a:p>
        </p:txBody>
      </p:sp>
      <p:sp>
        <p:nvSpPr>
          <p:cNvPr id="62" name="Text Placeholder 19"/>
          <p:cNvSpPr>
            <a:spLocks noGrp="1"/>
          </p:cNvSpPr>
          <p:nvPr>
            <p:ph type="body" sz="quarter" idx="51" hasCustomPrompt="1"/>
          </p:nvPr>
        </p:nvSpPr>
        <p:spPr>
          <a:xfrm>
            <a:off x="10014905" y="3050187"/>
            <a:ext cx="1792851" cy="1153963"/>
          </a:xfrm>
        </p:spPr>
        <p:txBody>
          <a:bodyPr/>
          <a:lstStyle>
            <a:lvl1pPr algn="ctr">
              <a:lnSpc>
                <a:spcPct val="110000"/>
              </a:lnSpc>
              <a:spcBef>
                <a:spcPts val="0"/>
              </a:spcBef>
              <a:spcAft>
                <a:spcPts val="0"/>
              </a:spcAft>
              <a:defRPr sz="882"/>
            </a:lvl1pPr>
            <a:lvl2pPr algn="ctr">
              <a:lnSpc>
                <a:spcPct val="110000"/>
              </a:lnSpc>
              <a:spcBef>
                <a:spcPts val="0"/>
              </a:spcBef>
              <a:spcAft>
                <a:spcPts val="0"/>
              </a:spcAft>
              <a:defRPr sz="882"/>
            </a:lvl2pPr>
            <a:lvl3pPr algn="ctr">
              <a:spcBef>
                <a:spcPts val="0"/>
              </a:spcBef>
              <a:spcAft>
                <a:spcPts val="0"/>
              </a:spcAft>
              <a:defRPr sz="1027"/>
            </a:lvl3pPr>
            <a:lvl4pPr algn="ctr">
              <a:spcBef>
                <a:spcPts val="0"/>
              </a:spcBef>
              <a:spcAft>
                <a:spcPts val="0"/>
              </a:spcAft>
              <a:defRPr sz="1027"/>
            </a:lvl4pPr>
            <a:lvl5pPr algn="ctr">
              <a:spcBef>
                <a:spcPts val="0"/>
              </a:spcBef>
              <a:spcAft>
                <a:spcPts val="0"/>
              </a:spcAft>
              <a:defRPr sz="1027"/>
            </a:lvl5pPr>
          </a:lstStyle>
          <a:p>
            <a:pPr lvl="0"/>
            <a:r>
              <a:rPr lang="en-US"/>
              <a:t>Device Name</a:t>
            </a:r>
          </a:p>
          <a:p>
            <a:pPr lvl="1"/>
            <a:r>
              <a:rPr lang="en-US"/>
              <a:t>Second level</a:t>
            </a:r>
          </a:p>
        </p:txBody>
      </p:sp>
      <p:sp>
        <p:nvSpPr>
          <p:cNvPr id="66" name="Content Placeholder 14"/>
          <p:cNvSpPr>
            <a:spLocks noGrp="1"/>
          </p:cNvSpPr>
          <p:nvPr>
            <p:ph sz="quarter" idx="52" hasCustomPrompt="1"/>
          </p:nvPr>
        </p:nvSpPr>
        <p:spPr>
          <a:xfrm>
            <a:off x="10456392" y="1291618"/>
            <a:ext cx="909875" cy="690988"/>
          </a:xfrm>
        </p:spPr>
        <p:txBody>
          <a:bodyPr anchor="ctr"/>
          <a:lstStyle>
            <a:lvl1pPr algn="ctr">
              <a:defRPr sz="1174">
                <a:solidFill>
                  <a:srgbClr val="FF0000"/>
                </a:solidFill>
              </a:defRPr>
            </a:lvl1pPr>
          </a:lstStyle>
          <a:p>
            <a:pPr lvl="0"/>
            <a:r>
              <a:rPr lang="en-US"/>
              <a:t>Logo</a:t>
            </a:r>
          </a:p>
        </p:txBody>
      </p:sp>
      <p:sp>
        <p:nvSpPr>
          <p:cNvPr id="67" name="Content Placeholder 14"/>
          <p:cNvSpPr>
            <a:spLocks noGrp="1"/>
          </p:cNvSpPr>
          <p:nvPr>
            <p:ph sz="quarter" idx="53" hasCustomPrompt="1"/>
          </p:nvPr>
        </p:nvSpPr>
        <p:spPr>
          <a:xfrm>
            <a:off x="10014905" y="4362847"/>
            <a:ext cx="1792851" cy="981191"/>
          </a:xfrm>
        </p:spPr>
        <p:txBody>
          <a:bodyPr anchor="ctr"/>
          <a:lstStyle>
            <a:lvl1pPr algn="ctr">
              <a:defRPr sz="1174">
                <a:solidFill>
                  <a:srgbClr val="FF0000"/>
                </a:solidFill>
              </a:defRPr>
            </a:lvl1pPr>
          </a:lstStyle>
          <a:p>
            <a:pPr lvl="0"/>
            <a:r>
              <a:rPr lang="en-US"/>
              <a:t>Paste device image here</a:t>
            </a:r>
          </a:p>
        </p:txBody>
      </p:sp>
      <p:sp>
        <p:nvSpPr>
          <p:cNvPr id="68" name="Text Placeholder 19"/>
          <p:cNvSpPr>
            <a:spLocks noGrp="1"/>
          </p:cNvSpPr>
          <p:nvPr>
            <p:ph type="body" sz="quarter" idx="54" hasCustomPrompt="1"/>
          </p:nvPr>
        </p:nvSpPr>
        <p:spPr>
          <a:xfrm>
            <a:off x="10014905" y="5344038"/>
            <a:ext cx="1792851" cy="1153963"/>
          </a:xfrm>
        </p:spPr>
        <p:txBody>
          <a:bodyPr/>
          <a:lstStyle>
            <a:lvl1pPr algn="ctr">
              <a:lnSpc>
                <a:spcPct val="110000"/>
              </a:lnSpc>
              <a:spcBef>
                <a:spcPts val="0"/>
              </a:spcBef>
              <a:spcAft>
                <a:spcPts val="0"/>
              </a:spcAft>
              <a:defRPr sz="882"/>
            </a:lvl1pPr>
            <a:lvl2pPr algn="ctr">
              <a:lnSpc>
                <a:spcPct val="110000"/>
              </a:lnSpc>
              <a:spcBef>
                <a:spcPts val="0"/>
              </a:spcBef>
              <a:spcAft>
                <a:spcPts val="0"/>
              </a:spcAft>
              <a:defRPr sz="882"/>
            </a:lvl2pPr>
            <a:lvl3pPr algn="ctr">
              <a:spcBef>
                <a:spcPts val="0"/>
              </a:spcBef>
              <a:spcAft>
                <a:spcPts val="0"/>
              </a:spcAft>
              <a:defRPr sz="1027"/>
            </a:lvl3pPr>
            <a:lvl4pPr algn="ctr">
              <a:spcBef>
                <a:spcPts val="0"/>
              </a:spcBef>
              <a:spcAft>
                <a:spcPts val="0"/>
              </a:spcAft>
              <a:defRPr sz="1027"/>
            </a:lvl4pPr>
            <a:lvl5pPr algn="ctr">
              <a:spcBef>
                <a:spcPts val="0"/>
              </a:spcBef>
              <a:spcAft>
                <a:spcPts val="0"/>
              </a:spcAft>
              <a:defRPr sz="1027"/>
            </a:lvl5pPr>
          </a:lstStyle>
          <a:p>
            <a:pPr lvl="0"/>
            <a:r>
              <a:rPr lang="en-US"/>
              <a:t>Device Name</a:t>
            </a:r>
          </a:p>
          <a:p>
            <a:pPr lvl="1"/>
            <a:r>
              <a:rPr lang="en-US"/>
              <a:t>Second level</a:t>
            </a:r>
          </a:p>
        </p:txBody>
      </p:sp>
      <p:cxnSp>
        <p:nvCxnSpPr>
          <p:cNvPr id="69" name="Straight Connector 68"/>
          <p:cNvCxnSpPr>
            <a:cxnSpLocks/>
          </p:cNvCxnSpPr>
          <p:nvPr userDrawn="1"/>
        </p:nvCxnSpPr>
        <p:spPr>
          <a:xfrm>
            <a:off x="2841422" y="1982607"/>
            <a:ext cx="0" cy="4515394"/>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a:cxnSpLocks/>
          </p:cNvCxnSpPr>
          <p:nvPr userDrawn="1"/>
        </p:nvCxnSpPr>
        <p:spPr>
          <a:xfrm>
            <a:off x="5147110" y="1982607"/>
            <a:ext cx="0" cy="4515394"/>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cxnSpLocks/>
          </p:cNvCxnSpPr>
          <p:nvPr userDrawn="1"/>
        </p:nvCxnSpPr>
        <p:spPr>
          <a:xfrm>
            <a:off x="7452799" y="1982607"/>
            <a:ext cx="0" cy="4515394"/>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a:cxnSpLocks/>
          </p:cNvCxnSpPr>
          <p:nvPr userDrawn="1"/>
        </p:nvCxnSpPr>
        <p:spPr>
          <a:xfrm>
            <a:off x="9758488" y="1982607"/>
            <a:ext cx="0" cy="4515394"/>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4196061"/>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Windows Devices Portfolio">
    <p:spTree>
      <p:nvGrpSpPr>
        <p:cNvPr id="1" name=""/>
        <p:cNvGrpSpPr/>
        <p:nvPr/>
      </p:nvGrpSpPr>
      <p:grpSpPr>
        <a:xfrm>
          <a:off x="0" y="0"/>
          <a:ext cx="0" cy="0"/>
          <a:chOff x="0" y="0"/>
          <a:chExt cx="0" cy="0"/>
        </a:xfrm>
      </p:grpSpPr>
      <p:sp>
        <p:nvSpPr>
          <p:cNvPr id="7" name="Date Placeholder 6"/>
          <p:cNvSpPr>
            <a:spLocks noGrp="1"/>
          </p:cNvSpPr>
          <p:nvPr>
            <p:ph type="dt" sz="half" idx="15"/>
          </p:nvPr>
        </p:nvSpPr>
        <p:spPr/>
        <p:txBody>
          <a:bodyPr/>
          <a:lstStyle/>
          <a:p>
            <a:fld id="{85FD39CC-F725-4780-862A-802C6E928CE5}" type="datetime1">
              <a:rPr lang="en-US" smtClean="0"/>
              <a:t>3/4/2019</a:t>
            </a:fld>
            <a:endParaRPr lang="en-US"/>
          </a:p>
        </p:txBody>
      </p:sp>
      <p:sp>
        <p:nvSpPr>
          <p:cNvPr id="8" name="Footer Placeholder 7"/>
          <p:cNvSpPr>
            <a:spLocks noGrp="1"/>
          </p:cNvSpPr>
          <p:nvPr>
            <p:ph type="ftr" sz="quarter" idx="16"/>
          </p:nvPr>
        </p:nvSpPr>
        <p:spPr/>
        <p:txBody>
          <a:bodyPr/>
          <a:lstStyle/>
          <a:p>
            <a:r>
              <a:rPr lang="en-US"/>
              <a:t>MICROSOFT CONFIDENTIAL</a:t>
            </a:r>
          </a:p>
        </p:txBody>
      </p:sp>
      <p:sp>
        <p:nvSpPr>
          <p:cNvPr id="9" name="Slide Number Placeholder 8"/>
          <p:cNvSpPr>
            <a:spLocks noGrp="1"/>
          </p:cNvSpPr>
          <p:nvPr>
            <p:ph type="sldNum" sz="quarter" idx="17"/>
          </p:nvPr>
        </p:nvSpPr>
        <p:spPr/>
        <p:txBody>
          <a:bodyPr/>
          <a:lstStyle/>
          <a:p>
            <a:fld id="{9373C030-8119-439B-A7A2-330B51F4C009}" type="slidenum">
              <a:rPr lang="en-US" smtClean="0"/>
              <a:pPr/>
              <a:t>‹#›</a:t>
            </a:fld>
            <a:endParaRPr lang="en-US"/>
          </a:p>
        </p:txBody>
      </p:sp>
      <p:sp>
        <p:nvSpPr>
          <p:cNvPr id="15" name="Content Placeholder 14"/>
          <p:cNvSpPr>
            <a:spLocks noGrp="1"/>
          </p:cNvSpPr>
          <p:nvPr userDrawn="1">
            <p:ph sz="quarter" idx="18" hasCustomPrompt="1"/>
          </p:nvPr>
        </p:nvSpPr>
        <p:spPr>
          <a:xfrm>
            <a:off x="792152" y="2068996"/>
            <a:ext cx="1792851" cy="981191"/>
          </a:xfrm>
        </p:spPr>
        <p:txBody>
          <a:bodyPr anchor="ctr"/>
          <a:lstStyle>
            <a:lvl1pPr algn="ctr">
              <a:defRPr sz="1174">
                <a:solidFill>
                  <a:srgbClr val="FF0000"/>
                </a:solidFill>
              </a:defRPr>
            </a:lvl1pPr>
          </a:lstStyle>
          <a:p>
            <a:pPr lvl="0"/>
            <a:r>
              <a:rPr lang="en-US"/>
              <a:t>Paste device image here</a:t>
            </a:r>
          </a:p>
        </p:txBody>
      </p:sp>
      <p:sp>
        <p:nvSpPr>
          <p:cNvPr id="20" name="Text Placeholder 19"/>
          <p:cNvSpPr>
            <a:spLocks noGrp="1"/>
          </p:cNvSpPr>
          <p:nvPr userDrawn="1">
            <p:ph type="body" sz="quarter" idx="22" hasCustomPrompt="1"/>
          </p:nvPr>
        </p:nvSpPr>
        <p:spPr>
          <a:xfrm>
            <a:off x="792152" y="3050187"/>
            <a:ext cx="1792851" cy="1153963"/>
          </a:xfrm>
        </p:spPr>
        <p:txBody>
          <a:bodyPr/>
          <a:lstStyle>
            <a:lvl1pPr algn="ctr">
              <a:lnSpc>
                <a:spcPct val="110000"/>
              </a:lnSpc>
              <a:spcBef>
                <a:spcPts val="0"/>
              </a:spcBef>
              <a:spcAft>
                <a:spcPts val="0"/>
              </a:spcAft>
              <a:defRPr sz="882"/>
            </a:lvl1pPr>
            <a:lvl2pPr algn="ctr">
              <a:lnSpc>
                <a:spcPct val="110000"/>
              </a:lnSpc>
              <a:spcBef>
                <a:spcPts val="0"/>
              </a:spcBef>
              <a:spcAft>
                <a:spcPts val="0"/>
              </a:spcAft>
              <a:defRPr sz="882"/>
            </a:lvl2pPr>
            <a:lvl3pPr algn="ctr">
              <a:spcBef>
                <a:spcPts val="0"/>
              </a:spcBef>
              <a:spcAft>
                <a:spcPts val="0"/>
              </a:spcAft>
              <a:defRPr sz="1027"/>
            </a:lvl3pPr>
            <a:lvl4pPr algn="ctr">
              <a:spcBef>
                <a:spcPts val="0"/>
              </a:spcBef>
              <a:spcAft>
                <a:spcPts val="0"/>
              </a:spcAft>
              <a:defRPr sz="1027"/>
            </a:lvl4pPr>
            <a:lvl5pPr algn="ctr">
              <a:spcBef>
                <a:spcPts val="0"/>
              </a:spcBef>
              <a:spcAft>
                <a:spcPts val="0"/>
              </a:spcAft>
              <a:defRPr sz="1027"/>
            </a:lvl5pPr>
          </a:lstStyle>
          <a:p>
            <a:pPr lvl="0"/>
            <a:r>
              <a:rPr lang="en-US"/>
              <a:t>Device Name</a:t>
            </a:r>
          </a:p>
          <a:p>
            <a:pPr lvl="1"/>
            <a:r>
              <a:rPr lang="en-US"/>
              <a:t>Second level</a:t>
            </a:r>
          </a:p>
        </p:txBody>
      </p:sp>
      <p:grpSp>
        <p:nvGrpSpPr>
          <p:cNvPr id="5" name="Group 4"/>
          <p:cNvGrpSpPr/>
          <p:nvPr userDrawn="1"/>
        </p:nvGrpSpPr>
        <p:grpSpPr>
          <a:xfrm>
            <a:off x="381293" y="1992543"/>
            <a:ext cx="11426464" cy="4499676"/>
            <a:chOff x="388939" y="1596826"/>
            <a:chExt cx="11655588" cy="3330892"/>
          </a:xfrm>
        </p:grpSpPr>
        <p:grpSp>
          <p:nvGrpSpPr>
            <p:cNvPr id="2" name="Group 1"/>
            <p:cNvGrpSpPr/>
            <p:nvPr userDrawn="1"/>
          </p:nvGrpSpPr>
          <p:grpSpPr>
            <a:xfrm>
              <a:off x="388939" y="1596827"/>
              <a:ext cx="291785" cy="3330891"/>
              <a:chOff x="388939" y="1596827"/>
              <a:chExt cx="291785" cy="3330891"/>
            </a:xfrm>
          </p:grpSpPr>
          <p:sp>
            <p:nvSpPr>
              <p:cNvPr id="11" name="TextBox 10"/>
              <p:cNvSpPr txBox="1"/>
              <p:nvPr userDrawn="1"/>
            </p:nvSpPr>
            <p:spPr>
              <a:xfrm rot="16200000">
                <a:off x="-283741" y="3963252"/>
                <a:ext cx="1637146" cy="291785"/>
              </a:xfrm>
              <a:prstGeom prst="rect">
                <a:avLst/>
              </a:prstGeom>
              <a:solidFill>
                <a:srgbClr val="0078D7"/>
              </a:solidFill>
            </p:spPr>
            <p:txBody>
              <a:bodyPr wrap="none" rtlCol="0" anchor="ctr">
                <a:noAutofit/>
              </a:bodyPr>
              <a:lstStyle/>
              <a:p>
                <a:pPr algn="ctr"/>
                <a:r>
                  <a:rPr lang="en-US" sz="1370">
                    <a:solidFill>
                      <a:schemeClr val="bg1"/>
                    </a:solidFill>
                    <a:latin typeface="Segoe UI Semibold" panose="020B0702040204020203" pitchFamily="34" charset="0"/>
                    <a:cs typeface="Segoe UI Semibold" panose="020B0702040204020203" pitchFamily="34" charset="0"/>
                  </a:rPr>
                  <a:t>Clamshell</a:t>
                </a:r>
              </a:p>
            </p:txBody>
          </p:sp>
          <p:sp>
            <p:nvSpPr>
              <p:cNvPr id="12" name="TextBox 11"/>
              <p:cNvSpPr txBox="1"/>
              <p:nvPr userDrawn="1"/>
            </p:nvSpPr>
            <p:spPr>
              <a:xfrm rot="16200000">
                <a:off x="-283741" y="2269507"/>
                <a:ext cx="1637146" cy="291785"/>
              </a:xfrm>
              <a:prstGeom prst="rect">
                <a:avLst/>
              </a:prstGeom>
              <a:solidFill>
                <a:srgbClr val="0078D7"/>
              </a:solidFill>
            </p:spPr>
            <p:txBody>
              <a:bodyPr wrap="none" rtlCol="0" anchor="ctr">
                <a:noAutofit/>
              </a:bodyPr>
              <a:lstStyle/>
              <a:p>
                <a:pPr algn="ctr"/>
                <a:r>
                  <a:rPr lang="en-US" sz="1370">
                    <a:solidFill>
                      <a:schemeClr val="bg1"/>
                    </a:solidFill>
                    <a:latin typeface="Segoe UI Semibold" panose="020B0702040204020203" pitchFamily="34" charset="0"/>
                    <a:cs typeface="Segoe UI Semibold" panose="020B0702040204020203" pitchFamily="34" charset="0"/>
                  </a:rPr>
                  <a:t>2 in 1</a:t>
                </a:r>
              </a:p>
            </p:txBody>
          </p:sp>
        </p:grpSp>
        <p:cxnSp>
          <p:nvCxnSpPr>
            <p:cNvPr id="30" name="Straight Connector 29"/>
            <p:cNvCxnSpPr>
              <a:cxnSpLocks/>
            </p:cNvCxnSpPr>
            <p:nvPr userDrawn="1"/>
          </p:nvCxnSpPr>
          <p:spPr>
            <a:xfrm flipV="1">
              <a:off x="388940" y="1596826"/>
              <a:ext cx="11655587" cy="1"/>
            </a:xfrm>
            <a:prstGeom prst="line">
              <a:avLst/>
            </a:prstGeom>
            <a:ln w="127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cxnSpLocks/>
            </p:cNvCxnSpPr>
            <p:nvPr userDrawn="1"/>
          </p:nvCxnSpPr>
          <p:spPr>
            <a:xfrm>
              <a:off x="388940" y="3290570"/>
              <a:ext cx="11655587" cy="0"/>
            </a:xfrm>
            <a:prstGeom prst="line">
              <a:avLst/>
            </a:prstGeom>
            <a:ln w="127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4" name="Title 63"/>
          <p:cNvSpPr>
            <a:spLocks noGrp="1"/>
          </p:cNvSpPr>
          <p:nvPr userDrawn="1">
            <p:ph type="title"/>
          </p:nvPr>
        </p:nvSpPr>
        <p:spPr>
          <a:xfrm>
            <a:off x="381293" y="235037"/>
            <a:ext cx="11426462" cy="603538"/>
          </a:xfrm>
        </p:spPr>
        <p:txBody>
          <a:bodyPr/>
          <a:lstStyle/>
          <a:p>
            <a:r>
              <a:rPr lang="en-US"/>
              <a:t>Click to edit Master title style</a:t>
            </a:r>
          </a:p>
        </p:txBody>
      </p:sp>
      <p:sp>
        <p:nvSpPr>
          <p:cNvPr id="65" name="Text Placeholder 2"/>
          <p:cNvSpPr>
            <a:spLocks noGrp="1"/>
          </p:cNvSpPr>
          <p:nvPr userDrawn="1">
            <p:ph type="body" sz="quarter" idx="14"/>
          </p:nvPr>
        </p:nvSpPr>
        <p:spPr>
          <a:xfrm>
            <a:off x="381296" y="838965"/>
            <a:ext cx="3007457" cy="452654"/>
          </a:xfrm>
        </p:spPr>
        <p:txBody>
          <a:bodyPr wrap="none">
            <a:spAutoFit/>
          </a:bodyPr>
          <a:lstStyle>
            <a:lvl1pPr>
              <a:defRPr lang="en-US" sz="2353" kern="1200" baseline="0" dirty="0">
                <a:gradFill>
                  <a:gsLst>
                    <a:gs pos="2917">
                      <a:schemeClr val="tx1">
                        <a:lumMod val="75000"/>
                      </a:schemeClr>
                    </a:gs>
                    <a:gs pos="100000">
                      <a:schemeClr val="tx1">
                        <a:lumMod val="75000"/>
                      </a:schemeClr>
                    </a:gs>
                  </a:gsLst>
                  <a:lin ang="5400000" scaled="0"/>
                </a:gradFill>
                <a:latin typeface="Segoe UI Semibold" panose="020B0702040204020203" pitchFamily="34" charset="0"/>
                <a:ea typeface="+mn-ea"/>
                <a:cs typeface="Segoe UI Semibold" panose="020B0702040204020203" pitchFamily="34" charset="0"/>
              </a:defRPr>
            </a:lvl1pPr>
          </a:lstStyle>
          <a:p>
            <a:pPr lvl="0"/>
            <a:r>
              <a:rPr lang="en-US"/>
              <a:t>Edit Master text styles</a:t>
            </a:r>
          </a:p>
        </p:txBody>
      </p:sp>
      <p:sp>
        <p:nvSpPr>
          <p:cNvPr id="81" name="Content Placeholder 14"/>
          <p:cNvSpPr>
            <a:spLocks noGrp="1"/>
          </p:cNvSpPr>
          <p:nvPr>
            <p:ph sz="quarter" idx="29" hasCustomPrompt="1"/>
          </p:nvPr>
        </p:nvSpPr>
        <p:spPr>
          <a:xfrm>
            <a:off x="1233639" y="1291618"/>
            <a:ext cx="909875" cy="690988"/>
          </a:xfrm>
        </p:spPr>
        <p:txBody>
          <a:bodyPr anchor="ctr"/>
          <a:lstStyle>
            <a:lvl1pPr algn="ctr">
              <a:defRPr sz="1174">
                <a:solidFill>
                  <a:srgbClr val="FF0000"/>
                </a:solidFill>
              </a:defRPr>
            </a:lvl1pPr>
          </a:lstStyle>
          <a:p>
            <a:pPr lvl="0"/>
            <a:r>
              <a:rPr lang="en-US"/>
              <a:t>Logo</a:t>
            </a:r>
          </a:p>
        </p:txBody>
      </p:sp>
      <p:sp>
        <p:nvSpPr>
          <p:cNvPr id="85" name="Content Placeholder 14"/>
          <p:cNvSpPr>
            <a:spLocks noGrp="1"/>
          </p:cNvSpPr>
          <p:nvPr>
            <p:ph sz="quarter" idx="33" hasCustomPrompt="1"/>
          </p:nvPr>
        </p:nvSpPr>
        <p:spPr>
          <a:xfrm>
            <a:off x="792152" y="4362847"/>
            <a:ext cx="1792851" cy="981191"/>
          </a:xfrm>
        </p:spPr>
        <p:txBody>
          <a:bodyPr anchor="ctr"/>
          <a:lstStyle>
            <a:lvl1pPr algn="ctr">
              <a:defRPr sz="1174">
                <a:solidFill>
                  <a:srgbClr val="FF0000"/>
                </a:solidFill>
              </a:defRPr>
            </a:lvl1pPr>
          </a:lstStyle>
          <a:p>
            <a:pPr lvl="0"/>
            <a:r>
              <a:rPr lang="en-US"/>
              <a:t>Paste device image here</a:t>
            </a:r>
          </a:p>
        </p:txBody>
      </p:sp>
      <p:sp>
        <p:nvSpPr>
          <p:cNvPr id="86" name="Text Placeholder 19"/>
          <p:cNvSpPr>
            <a:spLocks noGrp="1"/>
          </p:cNvSpPr>
          <p:nvPr>
            <p:ph type="body" sz="quarter" idx="34" hasCustomPrompt="1"/>
          </p:nvPr>
        </p:nvSpPr>
        <p:spPr>
          <a:xfrm>
            <a:off x="792152" y="5344038"/>
            <a:ext cx="1792851" cy="1153963"/>
          </a:xfrm>
        </p:spPr>
        <p:txBody>
          <a:bodyPr/>
          <a:lstStyle>
            <a:lvl1pPr algn="ctr">
              <a:lnSpc>
                <a:spcPct val="110000"/>
              </a:lnSpc>
              <a:spcBef>
                <a:spcPts val="0"/>
              </a:spcBef>
              <a:spcAft>
                <a:spcPts val="0"/>
              </a:spcAft>
              <a:defRPr sz="882"/>
            </a:lvl1pPr>
            <a:lvl2pPr algn="ctr">
              <a:lnSpc>
                <a:spcPct val="110000"/>
              </a:lnSpc>
              <a:spcBef>
                <a:spcPts val="0"/>
              </a:spcBef>
              <a:spcAft>
                <a:spcPts val="0"/>
              </a:spcAft>
              <a:defRPr sz="882"/>
            </a:lvl2pPr>
            <a:lvl3pPr algn="ctr">
              <a:spcBef>
                <a:spcPts val="0"/>
              </a:spcBef>
              <a:spcAft>
                <a:spcPts val="0"/>
              </a:spcAft>
              <a:defRPr sz="1027"/>
            </a:lvl3pPr>
            <a:lvl4pPr algn="ctr">
              <a:spcBef>
                <a:spcPts val="0"/>
              </a:spcBef>
              <a:spcAft>
                <a:spcPts val="0"/>
              </a:spcAft>
              <a:defRPr sz="1027"/>
            </a:lvl4pPr>
            <a:lvl5pPr algn="ctr">
              <a:spcBef>
                <a:spcPts val="0"/>
              </a:spcBef>
              <a:spcAft>
                <a:spcPts val="0"/>
              </a:spcAft>
              <a:defRPr sz="1027"/>
            </a:lvl5pPr>
          </a:lstStyle>
          <a:p>
            <a:pPr lvl="0"/>
            <a:r>
              <a:rPr lang="en-US"/>
              <a:t>Device Name</a:t>
            </a:r>
          </a:p>
          <a:p>
            <a:pPr lvl="1"/>
            <a:r>
              <a:rPr lang="en-US"/>
              <a:t>Second level</a:t>
            </a:r>
          </a:p>
        </p:txBody>
      </p:sp>
      <p:sp>
        <p:nvSpPr>
          <p:cNvPr id="37" name="Content Placeholder 14"/>
          <p:cNvSpPr>
            <a:spLocks noGrp="1"/>
          </p:cNvSpPr>
          <p:nvPr>
            <p:ph sz="quarter" idx="35" hasCustomPrompt="1"/>
          </p:nvPr>
        </p:nvSpPr>
        <p:spPr>
          <a:xfrm>
            <a:off x="2635911" y="2068996"/>
            <a:ext cx="1792851" cy="981191"/>
          </a:xfrm>
        </p:spPr>
        <p:txBody>
          <a:bodyPr anchor="ctr"/>
          <a:lstStyle>
            <a:lvl1pPr algn="ctr">
              <a:defRPr sz="1174">
                <a:solidFill>
                  <a:srgbClr val="FF0000"/>
                </a:solidFill>
              </a:defRPr>
            </a:lvl1pPr>
          </a:lstStyle>
          <a:p>
            <a:pPr lvl="0"/>
            <a:r>
              <a:rPr lang="en-US"/>
              <a:t>Paste device image here</a:t>
            </a:r>
          </a:p>
        </p:txBody>
      </p:sp>
      <p:sp>
        <p:nvSpPr>
          <p:cNvPr id="38" name="Text Placeholder 19"/>
          <p:cNvSpPr>
            <a:spLocks noGrp="1"/>
          </p:cNvSpPr>
          <p:nvPr>
            <p:ph type="body" sz="quarter" idx="36" hasCustomPrompt="1"/>
          </p:nvPr>
        </p:nvSpPr>
        <p:spPr>
          <a:xfrm>
            <a:off x="2635911" y="3050187"/>
            <a:ext cx="1792851" cy="1153963"/>
          </a:xfrm>
        </p:spPr>
        <p:txBody>
          <a:bodyPr/>
          <a:lstStyle>
            <a:lvl1pPr algn="ctr">
              <a:lnSpc>
                <a:spcPct val="110000"/>
              </a:lnSpc>
              <a:spcBef>
                <a:spcPts val="0"/>
              </a:spcBef>
              <a:spcAft>
                <a:spcPts val="0"/>
              </a:spcAft>
              <a:defRPr sz="882"/>
            </a:lvl1pPr>
            <a:lvl2pPr algn="ctr">
              <a:lnSpc>
                <a:spcPct val="110000"/>
              </a:lnSpc>
              <a:spcBef>
                <a:spcPts val="0"/>
              </a:spcBef>
              <a:spcAft>
                <a:spcPts val="0"/>
              </a:spcAft>
              <a:defRPr sz="882"/>
            </a:lvl2pPr>
            <a:lvl3pPr algn="ctr">
              <a:spcBef>
                <a:spcPts val="0"/>
              </a:spcBef>
              <a:spcAft>
                <a:spcPts val="0"/>
              </a:spcAft>
              <a:defRPr sz="1027"/>
            </a:lvl3pPr>
            <a:lvl4pPr algn="ctr">
              <a:spcBef>
                <a:spcPts val="0"/>
              </a:spcBef>
              <a:spcAft>
                <a:spcPts val="0"/>
              </a:spcAft>
              <a:defRPr sz="1027"/>
            </a:lvl4pPr>
            <a:lvl5pPr algn="ctr">
              <a:spcBef>
                <a:spcPts val="0"/>
              </a:spcBef>
              <a:spcAft>
                <a:spcPts val="0"/>
              </a:spcAft>
              <a:defRPr sz="1027"/>
            </a:lvl5pPr>
          </a:lstStyle>
          <a:p>
            <a:pPr lvl="0"/>
            <a:r>
              <a:rPr lang="en-US"/>
              <a:t>Device Name</a:t>
            </a:r>
          </a:p>
          <a:p>
            <a:pPr lvl="1"/>
            <a:r>
              <a:rPr lang="en-US"/>
              <a:t>Second level</a:t>
            </a:r>
          </a:p>
        </p:txBody>
      </p:sp>
      <p:sp>
        <p:nvSpPr>
          <p:cNvPr id="40" name="Content Placeholder 14"/>
          <p:cNvSpPr>
            <a:spLocks noGrp="1"/>
          </p:cNvSpPr>
          <p:nvPr>
            <p:ph sz="quarter" idx="38" hasCustomPrompt="1"/>
          </p:nvPr>
        </p:nvSpPr>
        <p:spPr>
          <a:xfrm>
            <a:off x="3623916" y="4362847"/>
            <a:ext cx="1792851" cy="981191"/>
          </a:xfrm>
        </p:spPr>
        <p:txBody>
          <a:bodyPr anchor="ctr"/>
          <a:lstStyle>
            <a:lvl1pPr algn="ctr">
              <a:defRPr sz="1174">
                <a:solidFill>
                  <a:srgbClr val="FF0000"/>
                </a:solidFill>
              </a:defRPr>
            </a:lvl1pPr>
          </a:lstStyle>
          <a:p>
            <a:pPr lvl="0"/>
            <a:r>
              <a:rPr lang="en-US"/>
              <a:t>Paste device image here</a:t>
            </a:r>
          </a:p>
        </p:txBody>
      </p:sp>
      <p:sp>
        <p:nvSpPr>
          <p:cNvPr id="41" name="Text Placeholder 19"/>
          <p:cNvSpPr>
            <a:spLocks noGrp="1"/>
          </p:cNvSpPr>
          <p:nvPr>
            <p:ph type="body" sz="quarter" idx="39" hasCustomPrompt="1"/>
          </p:nvPr>
        </p:nvSpPr>
        <p:spPr>
          <a:xfrm>
            <a:off x="3623916" y="5344038"/>
            <a:ext cx="1792851" cy="1153963"/>
          </a:xfrm>
        </p:spPr>
        <p:txBody>
          <a:bodyPr/>
          <a:lstStyle>
            <a:lvl1pPr algn="ctr">
              <a:lnSpc>
                <a:spcPct val="110000"/>
              </a:lnSpc>
              <a:spcBef>
                <a:spcPts val="0"/>
              </a:spcBef>
              <a:spcAft>
                <a:spcPts val="0"/>
              </a:spcAft>
              <a:defRPr sz="882"/>
            </a:lvl1pPr>
            <a:lvl2pPr algn="ctr">
              <a:lnSpc>
                <a:spcPct val="110000"/>
              </a:lnSpc>
              <a:spcBef>
                <a:spcPts val="0"/>
              </a:spcBef>
              <a:spcAft>
                <a:spcPts val="0"/>
              </a:spcAft>
              <a:defRPr sz="882"/>
            </a:lvl2pPr>
            <a:lvl3pPr algn="ctr">
              <a:spcBef>
                <a:spcPts val="0"/>
              </a:spcBef>
              <a:spcAft>
                <a:spcPts val="0"/>
              </a:spcAft>
              <a:defRPr sz="1027"/>
            </a:lvl3pPr>
            <a:lvl4pPr algn="ctr">
              <a:spcBef>
                <a:spcPts val="0"/>
              </a:spcBef>
              <a:spcAft>
                <a:spcPts val="0"/>
              </a:spcAft>
              <a:defRPr sz="1027"/>
            </a:lvl4pPr>
            <a:lvl5pPr algn="ctr">
              <a:spcBef>
                <a:spcPts val="0"/>
              </a:spcBef>
              <a:spcAft>
                <a:spcPts val="0"/>
              </a:spcAft>
              <a:defRPr sz="1027"/>
            </a:lvl5pPr>
          </a:lstStyle>
          <a:p>
            <a:pPr lvl="0"/>
            <a:r>
              <a:rPr lang="en-US"/>
              <a:t>Device Name</a:t>
            </a:r>
          </a:p>
          <a:p>
            <a:pPr lvl="1"/>
            <a:r>
              <a:rPr lang="en-US"/>
              <a:t>Second level</a:t>
            </a:r>
          </a:p>
        </p:txBody>
      </p:sp>
      <p:sp>
        <p:nvSpPr>
          <p:cNvPr id="42" name="Content Placeholder 14"/>
          <p:cNvSpPr>
            <a:spLocks noGrp="1"/>
          </p:cNvSpPr>
          <p:nvPr>
            <p:ph sz="quarter" idx="40" hasCustomPrompt="1"/>
          </p:nvPr>
        </p:nvSpPr>
        <p:spPr>
          <a:xfrm>
            <a:off x="4479670" y="2068996"/>
            <a:ext cx="1792851" cy="981191"/>
          </a:xfrm>
        </p:spPr>
        <p:txBody>
          <a:bodyPr anchor="ctr"/>
          <a:lstStyle>
            <a:lvl1pPr algn="ctr">
              <a:defRPr sz="1174">
                <a:solidFill>
                  <a:srgbClr val="FF0000"/>
                </a:solidFill>
              </a:defRPr>
            </a:lvl1pPr>
          </a:lstStyle>
          <a:p>
            <a:pPr lvl="0"/>
            <a:r>
              <a:rPr lang="en-US"/>
              <a:t>Paste device image here</a:t>
            </a:r>
          </a:p>
        </p:txBody>
      </p:sp>
      <p:sp>
        <p:nvSpPr>
          <p:cNvPr id="43" name="Text Placeholder 19"/>
          <p:cNvSpPr>
            <a:spLocks noGrp="1"/>
          </p:cNvSpPr>
          <p:nvPr>
            <p:ph type="body" sz="quarter" idx="41" hasCustomPrompt="1"/>
          </p:nvPr>
        </p:nvSpPr>
        <p:spPr>
          <a:xfrm>
            <a:off x="4479670" y="3050187"/>
            <a:ext cx="1792851" cy="1153963"/>
          </a:xfrm>
        </p:spPr>
        <p:txBody>
          <a:bodyPr/>
          <a:lstStyle>
            <a:lvl1pPr algn="ctr">
              <a:lnSpc>
                <a:spcPct val="110000"/>
              </a:lnSpc>
              <a:spcBef>
                <a:spcPts val="0"/>
              </a:spcBef>
              <a:spcAft>
                <a:spcPts val="0"/>
              </a:spcAft>
              <a:defRPr sz="882"/>
            </a:lvl1pPr>
            <a:lvl2pPr algn="ctr">
              <a:lnSpc>
                <a:spcPct val="110000"/>
              </a:lnSpc>
              <a:spcBef>
                <a:spcPts val="0"/>
              </a:spcBef>
              <a:spcAft>
                <a:spcPts val="0"/>
              </a:spcAft>
              <a:defRPr sz="882"/>
            </a:lvl2pPr>
            <a:lvl3pPr algn="ctr">
              <a:spcBef>
                <a:spcPts val="0"/>
              </a:spcBef>
              <a:spcAft>
                <a:spcPts val="0"/>
              </a:spcAft>
              <a:defRPr sz="1027"/>
            </a:lvl3pPr>
            <a:lvl4pPr algn="ctr">
              <a:spcBef>
                <a:spcPts val="0"/>
              </a:spcBef>
              <a:spcAft>
                <a:spcPts val="0"/>
              </a:spcAft>
              <a:defRPr sz="1027"/>
            </a:lvl4pPr>
            <a:lvl5pPr algn="ctr">
              <a:spcBef>
                <a:spcPts val="0"/>
              </a:spcBef>
              <a:spcAft>
                <a:spcPts val="0"/>
              </a:spcAft>
              <a:defRPr sz="1027"/>
            </a:lvl5pPr>
          </a:lstStyle>
          <a:p>
            <a:pPr lvl="0"/>
            <a:r>
              <a:rPr lang="en-US"/>
              <a:t>Device Name</a:t>
            </a:r>
          </a:p>
          <a:p>
            <a:pPr lvl="1"/>
            <a:r>
              <a:rPr lang="en-US"/>
              <a:t>Second level</a:t>
            </a:r>
          </a:p>
        </p:txBody>
      </p:sp>
      <p:sp>
        <p:nvSpPr>
          <p:cNvPr id="44" name="Content Placeholder 14"/>
          <p:cNvSpPr>
            <a:spLocks noGrp="1"/>
          </p:cNvSpPr>
          <p:nvPr>
            <p:ph sz="quarter" idx="42" hasCustomPrompt="1"/>
          </p:nvPr>
        </p:nvSpPr>
        <p:spPr>
          <a:xfrm>
            <a:off x="3986527" y="1291618"/>
            <a:ext cx="909875" cy="690988"/>
          </a:xfrm>
        </p:spPr>
        <p:txBody>
          <a:bodyPr anchor="ctr"/>
          <a:lstStyle>
            <a:lvl1pPr algn="ctr">
              <a:defRPr sz="1174">
                <a:solidFill>
                  <a:srgbClr val="FF0000"/>
                </a:solidFill>
              </a:defRPr>
            </a:lvl1pPr>
          </a:lstStyle>
          <a:p>
            <a:pPr lvl="0"/>
            <a:r>
              <a:rPr lang="en-US"/>
              <a:t>Logo</a:t>
            </a:r>
          </a:p>
        </p:txBody>
      </p:sp>
      <p:sp>
        <p:nvSpPr>
          <p:cNvPr id="47" name="Content Placeholder 14"/>
          <p:cNvSpPr>
            <a:spLocks noGrp="1"/>
          </p:cNvSpPr>
          <p:nvPr>
            <p:ph sz="quarter" idx="45" hasCustomPrompt="1"/>
          </p:nvPr>
        </p:nvSpPr>
        <p:spPr>
          <a:xfrm>
            <a:off x="6323428" y="2068996"/>
            <a:ext cx="1792851" cy="981191"/>
          </a:xfrm>
        </p:spPr>
        <p:txBody>
          <a:bodyPr anchor="ctr"/>
          <a:lstStyle>
            <a:lvl1pPr algn="ctr">
              <a:defRPr sz="1174">
                <a:solidFill>
                  <a:srgbClr val="FF0000"/>
                </a:solidFill>
              </a:defRPr>
            </a:lvl1pPr>
          </a:lstStyle>
          <a:p>
            <a:pPr lvl="0"/>
            <a:r>
              <a:rPr lang="en-US"/>
              <a:t>Paste device image here</a:t>
            </a:r>
          </a:p>
        </p:txBody>
      </p:sp>
      <p:sp>
        <p:nvSpPr>
          <p:cNvPr id="48" name="Text Placeholder 19"/>
          <p:cNvSpPr>
            <a:spLocks noGrp="1"/>
          </p:cNvSpPr>
          <p:nvPr>
            <p:ph type="body" sz="quarter" idx="46" hasCustomPrompt="1"/>
          </p:nvPr>
        </p:nvSpPr>
        <p:spPr>
          <a:xfrm>
            <a:off x="6323428" y="3050187"/>
            <a:ext cx="1792851" cy="1153963"/>
          </a:xfrm>
        </p:spPr>
        <p:txBody>
          <a:bodyPr/>
          <a:lstStyle>
            <a:lvl1pPr algn="ctr">
              <a:lnSpc>
                <a:spcPct val="110000"/>
              </a:lnSpc>
              <a:spcBef>
                <a:spcPts val="0"/>
              </a:spcBef>
              <a:spcAft>
                <a:spcPts val="0"/>
              </a:spcAft>
              <a:defRPr sz="882"/>
            </a:lvl1pPr>
            <a:lvl2pPr algn="ctr">
              <a:lnSpc>
                <a:spcPct val="110000"/>
              </a:lnSpc>
              <a:spcBef>
                <a:spcPts val="0"/>
              </a:spcBef>
              <a:spcAft>
                <a:spcPts val="0"/>
              </a:spcAft>
              <a:defRPr sz="882"/>
            </a:lvl2pPr>
            <a:lvl3pPr algn="ctr">
              <a:spcBef>
                <a:spcPts val="0"/>
              </a:spcBef>
              <a:spcAft>
                <a:spcPts val="0"/>
              </a:spcAft>
              <a:defRPr sz="1027"/>
            </a:lvl3pPr>
            <a:lvl4pPr algn="ctr">
              <a:spcBef>
                <a:spcPts val="0"/>
              </a:spcBef>
              <a:spcAft>
                <a:spcPts val="0"/>
              </a:spcAft>
              <a:defRPr sz="1027"/>
            </a:lvl4pPr>
            <a:lvl5pPr algn="ctr">
              <a:spcBef>
                <a:spcPts val="0"/>
              </a:spcBef>
              <a:spcAft>
                <a:spcPts val="0"/>
              </a:spcAft>
              <a:defRPr sz="1027"/>
            </a:lvl5pPr>
          </a:lstStyle>
          <a:p>
            <a:pPr lvl="0"/>
            <a:r>
              <a:rPr lang="en-US"/>
              <a:t>Device Name</a:t>
            </a:r>
          </a:p>
          <a:p>
            <a:pPr lvl="1"/>
            <a:r>
              <a:rPr lang="en-US"/>
              <a:t>Second level</a:t>
            </a:r>
          </a:p>
        </p:txBody>
      </p:sp>
      <p:sp>
        <p:nvSpPr>
          <p:cNvPr id="49" name="Content Placeholder 14"/>
          <p:cNvSpPr>
            <a:spLocks noGrp="1"/>
          </p:cNvSpPr>
          <p:nvPr>
            <p:ph sz="quarter" idx="47" hasCustomPrompt="1"/>
          </p:nvPr>
        </p:nvSpPr>
        <p:spPr>
          <a:xfrm>
            <a:off x="6764915" y="1291618"/>
            <a:ext cx="909875" cy="690988"/>
          </a:xfrm>
        </p:spPr>
        <p:txBody>
          <a:bodyPr anchor="ctr"/>
          <a:lstStyle>
            <a:lvl1pPr algn="ctr">
              <a:defRPr sz="1174">
                <a:solidFill>
                  <a:srgbClr val="FF0000"/>
                </a:solidFill>
              </a:defRPr>
            </a:lvl1pPr>
          </a:lstStyle>
          <a:p>
            <a:pPr lvl="0"/>
            <a:r>
              <a:rPr lang="en-US"/>
              <a:t>Logo</a:t>
            </a:r>
          </a:p>
        </p:txBody>
      </p:sp>
      <p:sp>
        <p:nvSpPr>
          <p:cNvPr id="50" name="Content Placeholder 14"/>
          <p:cNvSpPr>
            <a:spLocks noGrp="1"/>
          </p:cNvSpPr>
          <p:nvPr>
            <p:ph sz="quarter" idx="48" hasCustomPrompt="1"/>
          </p:nvPr>
        </p:nvSpPr>
        <p:spPr>
          <a:xfrm>
            <a:off x="6323428" y="4362847"/>
            <a:ext cx="1792851" cy="981191"/>
          </a:xfrm>
        </p:spPr>
        <p:txBody>
          <a:bodyPr anchor="ctr"/>
          <a:lstStyle>
            <a:lvl1pPr algn="ctr">
              <a:defRPr sz="1174">
                <a:solidFill>
                  <a:srgbClr val="FF0000"/>
                </a:solidFill>
              </a:defRPr>
            </a:lvl1pPr>
          </a:lstStyle>
          <a:p>
            <a:pPr lvl="0"/>
            <a:r>
              <a:rPr lang="en-US"/>
              <a:t>Paste device image here</a:t>
            </a:r>
          </a:p>
        </p:txBody>
      </p:sp>
      <p:sp>
        <p:nvSpPr>
          <p:cNvPr id="51" name="Text Placeholder 19"/>
          <p:cNvSpPr>
            <a:spLocks noGrp="1"/>
          </p:cNvSpPr>
          <p:nvPr>
            <p:ph type="body" sz="quarter" idx="49" hasCustomPrompt="1"/>
          </p:nvPr>
        </p:nvSpPr>
        <p:spPr>
          <a:xfrm>
            <a:off x="6323428" y="5344038"/>
            <a:ext cx="1792851" cy="1153963"/>
          </a:xfrm>
        </p:spPr>
        <p:txBody>
          <a:bodyPr/>
          <a:lstStyle>
            <a:lvl1pPr algn="ctr">
              <a:lnSpc>
                <a:spcPct val="110000"/>
              </a:lnSpc>
              <a:spcBef>
                <a:spcPts val="0"/>
              </a:spcBef>
              <a:spcAft>
                <a:spcPts val="0"/>
              </a:spcAft>
              <a:defRPr sz="882"/>
            </a:lvl1pPr>
            <a:lvl2pPr algn="ctr">
              <a:lnSpc>
                <a:spcPct val="110000"/>
              </a:lnSpc>
              <a:spcBef>
                <a:spcPts val="0"/>
              </a:spcBef>
              <a:spcAft>
                <a:spcPts val="0"/>
              </a:spcAft>
              <a:defRPr sz="882"/>
            </a:lvl2pPr>
            <a:lvl3pPr algn="ctr">
              <a:spcBef>
                <a:spcPts val="0"/>
              </a:spcBef>
              <a:spcAft>
                <a:spcPts val="0"/>
              </a:spcAft>
              <a:defRPr sz="1027"/>
            </a:lvl3pPr>
            <a:lvl4pPr algn="ctr">
              <a:spcBef>
                <a:spcPts val="0"/>
              </a:spcBef>
              <a:spcAft>
                <a:spcPts val="0"/>
              </a:spcAft>
              <a:defRPr sz="1027"/>
            </a:lvl4pPr>
            <a:lvl5pPr algn="ctr">
              <a:spcBef>
                <a:spcPts val="0"/>
              </a:spcBef>
              <a:spcAft>
                <a:spcPts val="0"/>
              </a:spcAft>
              <a:defRPr sz="1027"/>
            </a:lvl5pPr>
          </a:lstStyle>
          <a:p>
            <a:pPr lvl="0"/>
            <a:r>
              <a:rPr lang="en-US"/>
              <a:t>Device Name</a:t>
            </a:r>
          </a:p>
          <a:p>
            <a:pPr lvl="1"/>
            <a:r>
              <a:rPr lang="en-US"/>
              <a:t>Second level</a:t>
            </a:r>
          </a:p>
        </p:txBody>
      </p:sp>
      <p:sp>
        <p:nvSpPr>
          <p:cNvPr id="61" name="Content Placeholder 14"/>
          <p:cNvSpPr>
            <a:spLocks noGrp="1"/>
          </p:cNvSpPr>
          <p:nvPr>
            <p:ph sz="quarter" idx="50" hasCustomPrompt="1"/>
          </p:nvPr>
        </p:nvSpPr>
        <p:spPr>
          <a:xfrm>
            <a:off x="8167187" y="2068996"/>
            <a:ext cx="1792851" cy="981191"/>
          </a:xfrm>
        </p:spPr>
        <p:txBody>
          <a:bodyPr anchor="ctr"/>
          <a:lstStyle>
            <a:lvl1pPr algn="ctr">
              <a:defRPr sz="1174">
                <a:solidFill>
                  <a:srgbClr val="FF0000"/>
                </a:solidFill>
              </a:defRPr>
            </a:lvl1pPr>
          </a:lstStyle>
          <a:p>
            <a:pPr lvl="0"/>
            <a:r>
              <a:rPr lang="en-US"/>
              <a:t>Paste device image here</a:t>
            </a:r>
          </a:p>
        </p:txBody>
      </p:sp>
      <p:sp>
        <p:nvSpPr>
          <p:cNvPr id="62" name="Text Placeholder 19"/>
          <p:cNvSpPr>
            <a:spLocks noGrp="1"/>
          </p:cNvSpPr>
          <p:nvPr>
            <p:ph type="body" sz="quarter" idx="51" hasCustomPrompt="1"/>
          </p:nvPr>
        </p:nvSpPr>
        <p:spPr>
          <a:xfrm>
            <a:off x="8167187" y="3050187"/>
            <a:ext cx="1792851" cy="1153963"/>
          </a:xfrm>
        </p:spPr>
        <p:txBody>
          <a:bodyPr/>
          <a:lstStyle>
            <a:lvl1pPr algn="ctr">
              <a:lnSpc>
                <a:spcPct val="110000"/>
              </a:lnSpc>
              <a:spcBef>
                <a:spcPts val="0"/>
              </a:spcBef>
              <a:spcAft>
                <a:spcPts val="0"/>
              </a:spcAft>
              <a:defRPr sz="882"/>
            </a:lvl1pPr>
            <a:lvl2pPr algn="ctr">
              <a:lnSpc>
                <a:spcPct val="110000"/>
              </a:lnSpc>
              <a:spcBef>
                <a:spcPts val="0"/>
              </a:spcBef>
              <a:spcAft>
                <a:spcPts val="0"/>
              </a:spcAft>
              <a:defRPr sz="882"/>
            </a:lvl2pPr>
            <a:lvl3pPr algn="ctr">
              <a:spcBef>
                <a:spcPts val="0"/>
              </a:spcBef>
              <a:spcAft>
                <a:spcPts val="0"/>
              </a:spcAft>
              <a:defRPr sz="1027"/>
            </a:lvl3pPr>
            <a:lvl4pPr algn="ctr">
              <a:spcBef>
                <a:spcPts val="0"/>
              </a:spcBef>
              <a:spcAft>
                <a:spcPts val="0"/>
              </a:spcAft>
              <a:defRPr sz="1027"/>
            </a:lvl4pPr>
            <a:lvl5pPr algn="ctr">
              <a:spcBef>
                <a:spcPts val="0"/>
              </a:spcBef>
              <a:spcAft>
                <a:spcPts val="0"/>
              </a:spcAft>
              <a:defRPr sz="1027"/>
            </a:lvl5pPr>
          </a:lstStyle>
          <a:p>
            <a:pPr lvl="0"/>
            <a:r>
              <a:rPr lang="en-US"/>
              <a:t>Device Name</a:t>
            </a:r>
          </a:p>
          <a:p>
            <a:pPr lvl="1"/>
            <a:r>
              <a:rPr lang="en-US"/>
              <a:t>Second level</a:t>
            </a:r>
          </a:p>
        </p:txBody>
      </p:sp>
      <p:sp>
        <p:nvSpPr>
          <p:cNvPr id="66" name="Content Placeholder 14"/>
          <p:cNvSpPr>
            <a:spLocks noGrp="1"/>
          </p:cNvSpPr>
          <p:nvPr>
            <p:ph sz="quarter" idx="52" hasCustomPrompt="1"/>
          </p:nvPr>
        </p:nvSpPr>
        <p:spPr>
          <a:xfrm>
            <a:off x="8608674" y="1291618"/>
            <a:ext cx="909875" cy="690988"/>
          </a:xfrm>
        </p:spPr>
        <p:txBody>
          <a:bodyPr anchor="ctr"/>
          <a:lstStyle>
            <a:lvl1pPr algn="ctr">
              <a:defRPr sz="1174">
                <a:solidFill>
                  <a:srgbClr val="FF0000"/>
                </a:solidFill>
              </a:defRPr>
            </a:lvl1pPr>
          </a:lstStyle>
          <a:p>
            <a:pPr lvl="0"/>
            <a:r>
              <a:rPr lang="en-US"/>
              <a:t>Logo</a:t>
            </a:r>
          </a:p>
        </p:txBody>
      </p:sp>
      <p:sp>
        <p:nvSpPr>
          <p:cNvPr id="67" name="Content Placeholder 14"/>
          <p:cNvSpPr>
            <a:spLocks noGrp="1"/>
          </p:cNvSpPr>
          <p:nvPr>
            <p:ph sz="quarter" idx="53" hasCustomPrompt="1"/>
          </p:nvPr>
        </p:nvSpPr>
        <p:spPr>
          <a:xfrm>
            <a:off x="8167187" y="4362847"/>
            <a:ext cx="1792851" cy="981191"/>
          </a:xfrm>
        </p:spPr>
        <p:txBody>
          <a:bodyPr anchor="ctr"/>
          <a:lstStyle>
            <a:lvl1pPr algn="ctr">
              <a:defRPr sz="1174">
                <a:solidFill>
                  <a:srgbClr val="FF0000"/>
                </a:solidFill>
              </a:defRPr>
            </a:lvl1pPr>
          </a:lstStyle>
          <a:p>
            <a:pPr lvl="0"/>
            <a:r>
              <a:rPr lang="en-US"/>
              <a:t>Paste device image here</a:t>
            </a:r>
          </a:p>
        </p:txBody>
      </p:sp>
      <p:sp>
        <p:nvSpPr>
          <p:cNvPr id="68" name="Text Placeholder 19"/>
          <p:cNvSpPr>
            <a:spLocks noGrp="1"/>
          </p:cNvSpPr>
          <p:nvPr>
            <p:ph type="body" sz="quarter" idx="54" hasCustomPrompt="1"/>
          </p:nvPr>
        </p:nvSpPr>
        <p:spPr>
          <a:xfrm>
            <a:off x="8167187" y="5344038"/>
            <a:ext cx="1792851" cy="1153963"/>
          </a:xfrm>
        </p:spPr>
        <p:txBody>
          <a:bodyPr/>
          <a:lstStyle>
            <a:lvl1pPr algn="ctr">
              <a:lnSpc>
                <a:spcPct val="110000"/>
              </a:lnSpc>
              <a:spcBef>
                <a:spcPts val="0"/>
              </a:spcBef>
              <a:spcAft>
                <a:spcPts val="0"/>
              </a:spcAft>
              <a:defRPr sz="882"/>
            </a:lvl1pPr>
            <a:lvl2pPr algn="ctr">
              <a:lnSpc>
                <a:spcPct val="110000"/>
              </a:lnSpc>
              <a:spcBef>
                <a:spcPts val="0"/>
              </a:spcBef>
              <a:spcAft>
                <a:spcPts val="0"/>
              </a:spcAft>
              <a:defRPr sz="882"/>
            </a:lvl2pPr>
            <a:lvl3pPr algn="ctr">
              <a:spcBef>
                <a:spcPts val="0"/>
              </a:spcBef>
              <a:spcAft>
                <a:spcPts val="0"/>
              </a:spcAft>
              <a:defRPr sz="1027"/>
            </a:lvl3pPr>
            <a:lvl4pPr algn="ctr">
              <a:spcBef>
                <a:spcPts val="0"/>
              </a:spcBef>
              <a:spcAft>
                <a:spcPts val="0"/>
              </a:spcAft>
              <a:defRPr sz="1027"/>
            </a:lvl4pPr>
            <a:lvl5pPr algn="ctr">
              <a:spcBef>
                <a:spcPts val="0"/>
              </a:spcBef>
              <a:spcAft>
                <a:spcPts val="0"/>
              </a:spcAft>
              <a:defRPr sz="1027"/>
            </a:lvl5pPr>
          </a:lstStyle>
          <a:p>
            <a:pPr lvl="0"/>
            <a:r>
              <a:rPr lang="en-US"/>
              <a:t>Device Name</a:t>
            </a:r>
          </a:p>
          <a:p>
            <a:pPr lvl="1"/>
            <a:r>
              <a:rPr lang="en-US"/>
              <a:t>Second level</a:t>
            </a:r>
          </a:p>
        </p:txBody>
      </p:sp>
      <p:sp>
        <p:nvSpPr>
          <p:cNvPr id="53" name="Content Placeholder 14"/>
          <p:cNvSpPr>
            <a:spLocks noGrp="1"/>
          </p:cNvSpPr>
          <p:nvPr>
            <p:ph sz="quarter" idx="55" hasCustomPrompt="1"/>
          </p:nvPr>
        </p:nvSpPr>
        <p:spPr>
          <a:xfrm>
            <a:off x="10010945" y="2068996"/>
            <a:ext cx="1792851" cy="981191"/>
          </a:xfrm>
        </p:spPr>
        <p:txBody>
          <a:bodyPr anchor="ctr"/>
          <a:lstStyle>
            <a:lvl1pPr algn="ctr">
              <a:defRPr sz="1174">
                <a:solidFill>
                  <a:srgbClr val="FF0000"/>
                </a:solidFill>
              </a:defRPr>
            </a:lvl1pPr>
          </a:lstStyle>
          <a:p>
            <a:pPr lvl="0"/>
            <a:r>
              <a:rPr lang="en-US"/>
              <a:t>Paste device image here</a:t>
            </a:r>
          </a:p>
        </p:txBody>
      </p:sp>
      <p:sp>
        <p:nvSpPr>
          <p:cNvPr id="54" name="Text Placeholder 19"/>
          <p:cNvSpPr>
            <a:spLocks noGrp="1"/>
          </p:cNvSpPr>
          <p:nvPr>
            <p:ph type="body" sz="quarter" idx="56" hasCustomPrompt="1"/>
          </p:nvPr>
        </p:nvSpPr>
        <p:spPr>
          <a:xfrm>
            <a:off x="10010945" y="3050187"/>
            <a:ext cx="1792851" cy="1153963"/>
          </a:xfrm>
        </p:spPr>
        <p:txBody>
          <a:bodyPr/>
          <a:lstStyle>
            <a:lvl1pPr algn="ctr">
              <a:lnSpc>
                <a:spcPct val="110000"/>
              </a:lnSpc>
              <a:spcBef>
                <a:spcPts val="0"/>
              </a:spcBef>
              <a:spcAft>
                <a:spcPts val="0"/>
              </a:spcAft>
              <a:defRPr sz="882"/>
            </a:lvl1pPr>
            <a:lvl2pPr algn="ctr">
              <a:lnSpc>
                <a:spcPct val="110000"/>
              </a:lnSpc>
              <a:spcBef>
                <a:spcPts val="0"/>
              </a:spcBef>
              <a:spcAft>
                <a:spcPts val="0"/>
              </a:spcAft>
              <a:defRPr sz="882"/>
            </a:lvl2pPr>
            <a:lvl3pPr algn="ctr">
              <a:spcBef>
                <a:spcPts val="0"/>
              </a:spcBef>
              <a:spcAft>
                <a:spcPts val="0"/>
              </a:spcAft>
              <a:defRPr sz="1027"/>
            </a:lvl3pPr>
            <a:lvl4pPr algn="ctr">
              <a:spcBef>
                <a:spcPts val="0"/>
              </a:spcBef>
              <a:spcAft>
                <a:spcPts val="0"/>
              </a:spcAft>
              <a:defRPr sz="1027"/>
            </a:lvl4pPr>
            <a:lvl5pPr algn="ctr">
              <a:spcBef>
                <a:spcPts val="0"/>
              </a:spcBef>
              <a:spcAft>
                <a:spcPts val="0"/>
              </a:spcAft>
              <a:defRPr sz="1027"/>
            </a:lvl5pPr>
          </a:lstStyle>
          <a:p>
            <a:pPr lvl="0"/>
            <a:r>
              <a:rPr lang="en-US"/>
              <a:t>Device Name</a:t>
            </a:r>
          </a:p>
          <a:p>
            <a:pPr lvl="1"/>
            <a:r>
              <a:rPr lang="en-US"/>
              <a:t>Second level</a:t>
            </a:r>
          </a:p>
        </p:txBody>
      </p:sp>
      <p:sp>
        <p:nvSpPr>
          <p:cNvPr id="55" name="Content Placeholder 14"/>
          <p:cNvSpPr>
            <a:spLocks noGrp="1"/>
          </p:cNvSpPr>
          <p:nvPr>
            <p:ph sz="quarter" idx="57" hasCustomPrompt="1"/>
          </p:nvPr>
        </p:nvSpPr>
        <p:spPr>
          <a:xfrm>
            <a:off x="10452432" y="1291618"/>
            <a:ext cx="909875" cy="690988"/>
          </a:xfrm>
        </p:spPr>
        <p:txBody>
          <a:bodyPr anchor="ctr"/>
          <a:lstStyle>
            <a:lvl1pPr algn="ctr">
              <a:defRPr sz="1174">
                <a:solidFill>
                  <a:srgbClr val="FF0000"/>
                </a:solidFill>
              </a:defRPr>
            </a:lvl1pPr>
          </a:lstStyle>
          <a:p>
            <a:pPr lvl="0"/>
            <a:r>
              <a:rPr lang="en-US"/>
              <a:t>Logo</a:t>
            </a:r>
          </a:p>
        </p:txBody>
      </p:sp>
      <p:sp>
        <p:nvSpPr>
          <p:cNvPr id="56" name="Content Placeholder 14"/>
          <p:cNvSpPr>
            <a:spLocks noGrp="1"/>
          </p:cNvSpPr>
          <p:nvPr>
            <p:ph sz="quarter" idx="58" hasCustomPrompt="1"/>
          </p:nvPr>
        </p:nvSpPr>
        <p:spPr>
          <a:xfrm>
            <a:off x="10010945" y="4362847"/>
            <a:ext cx="1792851" cy="981191"/>
          </a:xfrm>
        </p:spPr>
        <p:txBody>
          <a:bodyPr anchor="ctr"/>
          <a:lstStyle>
            <a:lvl1pPr algn="ctr">
              <a:defRPr sz="1174">
                <a:solidFill>
                  <a:srgbClr val="FF0000"/>
                </a:solidFill>
              </a:defRPr>
            </a:lvl1pPr>
          </a:lstStyle>
          <a:p>
            <a:pPr lvl="0"/>
            <a:r>
              <a:rPr lang="en-US"/>
              <a:t>Paste device image here</a:t>
            </a:r>
          </a:p>
        </p:txBody>
      </p:sp>
      <p:sp>
        <p:nvSpPr>
          <p:cNvPr id="57" name="Text Placeholder 19"/>
          <p:cNvSpPr>
            <a:spLocks noGrp="1"/>
          </p:cNvSpPr>
          <p:nvPr>
            <p:ph type="body" sz="quarter" idx="59" hasCustomPrompt="1"/>
          </p:nvPr>
        </p:nvSpPr>
        <p:spPr>
          <a:xfrm>
            <a:off x="10010945" y="5344038"/>
            <a:ext cx="1792851" cy="1153963"/>
          </a:xfrm>
        </p:spPr>
        <p:txBody>
          <a:bodyPr/>
          <a:lstStyle>
            <a:lvl1pPr algn="ctr">
              <a:lnSpc>
                <a:spcPct val="110000"/>
              </a:lnSpc>
              <a:spcBef>
                <a:spcPts val="0"/>
              </a:spcBef>
              <a:spcAft>
                <a:spcPts val="0"/>
              </a:spcAft>
              <a:defRPr sz="882"/>
            </a:lvl1pPr>
            <a:lvl2pPr algn="ctr">
              <a:lnSpc>
                <a:spcPct val="110000"/>
              </a:lnSpc>
              <a:spcBef>
                <a:spcPts val="0"/>
              </a:spcBef>
              <a:spcAft>
                <a:spcPts val="0"/>
              </a:spcAft>
              <a:defRPr sz="882"/>
            </a:lvl2pPr>
            <a:lvl3pPr algn="ctr">
              <a:spcBef>
                <a:spcPts val="0"/>
              </a:spcBef>
              <a:spcAft>
                <a:spcPts val="0"/>
              </a:spcAft>
              <a:defRPr sz="1027"/>
            </a:lvl3pPr>
            <a:lvl4pPr algn="ctr">
              <a:spcBef>
                <a:spcPts val="0"/>
              </a:spcBef>
              <a:spcAft>
                <a:spcPts val="0"/>
              </a:spcAft>
              <a:defRPr sz="1027"/>
            </a:lvl4pPr>
            <a:lvl5pPr algn="ctr">
              <a:spcBef>
                <a:spcPts val="0"/>
              </a:spcBef>
              <a:spcAft>
                <a:spcPts val="0"/>
              </a:spcAft>
              <a:defRPr sz="1027"/>
            </a:lvl5pPr>
          </a:lstStyle>
          <a:p>
            <a:pPr lvl="0"/>
            <a:r>
              <a:rPr lang="en-US"/>
              <a:t>Device Name</a:t>
            </a:r>
          </a:p>
          <a:p>
            <a:pPr lvl="1"/>
            <a:r>
              <a:rPr lang="en-US"/>
              <a:t>Second level</a:t>
            </a:r>
          </a:p>
        </p:txBody>
      </p:sp>
      <p:cxnSp>
        <p:nvCxnSpPr>
          <p:cNvPr id="58" name="Straight Connector 57"/>
          <p:cNvCxnSpPr>
            <a:cxnSpLocks/>
          </p:cNvCxnSpPr>
          <p:nvPr userDrawn="1"/>
        </p:nvCxnSpPr>
        <p:spPr>
          <a:xfrm>
            <a:off x="2635911" y="1982607"/>
            <a:ext cx="0" cy="4515394"/>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cxnSpLocks/>
          </p:cNvCxnSpPr>
          <p:nvPr userDrawn="1"/>
        </p:nvCxnSpPr>
        <p:spPr>
          <a:xfrm>
            <a:off x="6280127" y="1982607"/>
            <a:ext cx="0" cy="4515394"/>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cxnSpLocks/>
          </p:cNvCxnSpPr>
          <p:nvPr userDrawn="1"/>
        </p:nvCxnSpPr>
        <p:spPr>
          <a:xfrm>
            <a:off x="8118791" y="1982607"/>
            <a:ext cx="0" cy="4515394"/>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cxnSpLocks/>
          </p:cNvCxnSpPr>
          <p:nvPr userDrawn="1"/>
        </p:nvCxnSpPr>
        <p:spPr>
          <a:xfrm>
            <a:off x="9987336" y="1982607"/>
            <a:ext cx="0" cy="4515394"/>
          </a:xfrm>
          <a:prstGeom prst="line">
            <a:avLst/>
          </a:prstGeom>
          <a:ln>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477128"/>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t="7802" b="7802"/>
          <a:stretch/>
        </p:blipFill>
        <p:spPr>
          <a:xfrm>
            <a:off x="0" y="0"/>
            <a:ext cx="12192000" cy="6858973"/>
          </a:xfrm>
          <a:prstGeom prst="rect">
            <a:avLst/>
          </a:prstGeom>
        </p:spPr>
      </p:pic>
      <p:sp>
        <p:nvSpPr>
          <p:cNvPr id="2" name="Rectangle 1"/>
          <p:cNvSpPr/>
          <p:nvPr userDrawn="1"/>
        </p:nvSpPr>
        <p:spPr bwMode="auto">
          <a:xfrm>
            <a:off x="269239" y="2084172"/>
            <a:ext cx="6274974" cy="3586208"/>
          </a:xfrm>
          <a:prstGeom prst="rect">
            <a:avLst/>
          </a:prstGeom>
          <a:solidFill>
            <a:srgbClr val="5C2D91">
              <a:alpha val="8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4" spc="-98" baseline="0">
                <a:gradFill>
                  <a:gsLst>
                    <a:gs pos="72727">
                      <a:srgbClr val="FFFFFF"/>
                    </a:gs>
                    <a:gs pos="36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1"/>
            <a:ext cx="6276530" cy="1789991"/>
          </a:xfrm>
        </p:spPr>
        <p:txBody>
          <a:bodyPr tIns="109728" bIns="109728">
            <a:noAutofit/>
          </a:bodyPr>
          <a:lstStyle>
            <a:lvl1pPr marL="0" indent="0">
              <a:spcBef>
                <a:spcPts val="0"/>
              </a:spcBef>
              <a:buNone/>
              <a:defRPr sz="3137">
                <a:gradFill>
                  <a:gsLst>
                    <a:gs pos="72727">
                      <a:srgbClr val="FFFFFF"/>
                    </a:gs>
                    <a:gs pos="36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71237" y="6047101"/>
            <a:ext cx="1590852" cy="340832"/>
          </a:xfrm>
          <a:prstGeom prst="rect">
            <a:avLst/>
          </a:prstGeom>
        </p:spPr>
      </p:pic>
    </p:spTree>
    <p:extLst>
      <p:ext uri="{BB962C8B-B14F-4D97-AF65-F5344CB8AC3E}">
        <p14:creationId xmlns:p14="http://schemas.microsoft.com/office/powerpoint/2010/main" val="2389592019"/>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470067"/>
            <a:ext cx="1792850" cy="386208"/>
          </a:xfrm>
          <a:prstGeom prst="rect">
            <a:avLst/>
          </a:prstGeom>
        </p:spPr>
      </p:pic>
    </p:spTree>
    <p:extLst>
      <p:ext uri="{BB962C8B-B14F-4D97-AF65-F5344CB8AC3E}">
        <p14:creationId xmlns:p14="http://schemas.microsoft.com/office/powerpoint/2010/main" val="2200037424"/>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Date Placeholder 5"/>
          <p:cNvSpPr>
            <a:spLocks noGrp="1"/>
          </p:cNvSpPr>
          <p:nvPr>
            <p:ph type="dt" sz="half" idx="10"/>
          </p:nvPr>
        </p:nvSpPr>
        <p:spPr/>
        <p:txBody>
          <a:bodyPr lIns="0" rIns="0"/>
          <a:lstStyle/>
          <a:p>
            <a:fld id="{792E516C-708A-4193-AFDE-73E7BCEE5044}" type="datetime1">
              <a:rPr lang="en-US" smtClean="0"/>
              <a:t>3/4/2019</a:t>
            </a:fld>
            <a:endParaRPr lang="en-US"/>
          </a:p>
        </p:txBody>
      </p:sp>
      <p:sp>
        <p:nvSpPr>
          <p:cNvPr id="7" name="Footer Placeholder 6"/>
          <p:cNvSpPr>
            <a:spLocks noGrp="1"/>
          </p:cNvSpPr>
          <p:nvPr>
            <p:ph type="ftr" sz="quarter" idx="11"/>
          </p:nvPr>
        </p:nvSpPr>
        <p:spPr/>
        <p:txBody>
          <a:bodyPr lIns="0" rIns="0"/>
          <a:lstStyle/>
          <a:p>
            <a:r>
              <a:rPr lang="en-US"/>
              <a:t>MICROSOFT CONFIDENTIAL Pre-release simulated screenshot shown, final experience may differ</a:t>
            </a:r>
          </a:p>
        </p:txBody>
      </p:sp>
      <p:sp>
        <p:nvSpPr>
          <p:cNvPr id="8" name="Slide Number Placeholder 7"/>
          <p:cNvSpPr>
            <a:spLocks noGrp="1"/>
          </p:cNvSpPr>
          <p:nvPr>
            <p:ph type="sldNum" sz="quarter" idx="12"/>
          </p:nvPr>
        </p:nvSpPr>
        <p:spPr/>
        <p:txBody>
          <a:bodyPr lIns="0" rIns="0"/>
          <a:lstStyle/>
          <a:p>
            <a:fld id="{9373C030-8119-439B-A7A2-330B51F4C009}" type="slidenum">
              <a:rPr lang="en-US" smtClean="0"/>
              <a:pPr/>
              <a:t>‹#›</a:t>
            </a:fld>
            <a:endParaRPr lang="en-US"/>
          </a:p>
        </p:txBody>
      </p:sp>
      <p:sp>
        <p:nvSpPr>
          <p:cNvPr id="12" name="Content Placeholder 11"/>
          <p:cNvSpPr>
            <a:spLocks noGrp="1"/>
          </p:cNvSpPr>
          <p:nvPr>
            <p:ph sz="quarter" idx="13"/>
          </p:nvPr>
        </p:nvSpPr>
        <p:spPr>
          <a:xfrm>
            <a:off x="381292" y="1561184"/>
            <a:ext cx="11429416" cy="493103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6681663"/>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72408773"/>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9870160"/>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09522425"/>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33166470"/>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437408223"/>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6"/>
            <a:ext cx="9860674" cy="778565"/>
          </a:xfrm>
          <a:noFill/>
        </p:spPr>
        <p:txBody>
          <a:bodyPr lIns="182880" tIns="146304" rIns="182880" bIns="146304">
            <a:sp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03986919"/>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86753738"/>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33336279"/>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52273118"/>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67833357"/>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Date Placeholder 5"/>
          <p:cNvSpPr>
            <a:spLocks noGrp="1"/>
          </p:cNvSpPr>
          <p:nvPr>
            <p:ph type="dt" sz="half" idx="10"/>
          </p:nvPr>
        </p:nvSpPr>
        <p:spPr/>
        <p:txBody>
          <a:bodyPr lIns="0" rIns="0"/>
          <a:lstStyle/>
          <a:p>
            <a:fld id="{E915BF88-FEF4-4A9F-95AC-DEC8393A70E1}" type="datetime1">
              <a:rPr lang="en-US" smtClean="0"/>
              <a:t>3/4/2019</a:t>
            </a:fld>
            <a:endParaRPr lang="en-US"/>
          </a:p>
        </p:txBody>
      </p:sp>
      <p:sp>
        <p:nvSpPr>
          <p:cNvPr id="7" name="Footer Placeholder 6"/>
          <p:cNvSpPr>
            <a:spLocks noGrp="1"/>
          </p:cNvSpPr>
          <p:nvPr>
            <p:ph type="ftr" sz="quarter" idx="11"/>
          </p:nvPr>
        </p:nvSpPr>
        <p:spPr/>
        <p:txBody>
          <a:bodyPr lIns="0" rIns="0"/>
          <a:lstStyle/>
          <a:p>
            <a:r>
              <a:rPr lang="en-US"/>
              <a:t>MICROSOFT CONFIDENTIAL Pre-release simulated screenshot shown, final experience may differ</a:t>
            </a:r>
          </a:p>
        </p:txBody>
      </p:sp>
      <p:sp>
        <p:nvSpPr>
          <p:cNvPr id="8" name="Slide Number Placeholder 7"/>
          <p:cNvSpPr>
            <a:spLocks noGrp="1"/>
          </p:cNvSpPr>
          <p:nvPr>
            <p:ph type="sldNum" sz="quarter" idx="12"/>
          </p:nvPr>
        </p:nvSpPr>
        <p:spPr/>
        <p:txBody>
          <a:bodyPr lIns="0" rIns="0"/>
          <a:lstStyle/>
          <a:p>
            <a:fld id="{9373C030-8119-439B-A7A2-330B51F4C009}" type="slidenum">
              <a:rPr lang="en-US" smtClean="0"/>
              <a:pPr/>
              <a:t>‹#›</a:t>
            </a:fld>
            <a:endParaRPr lang="en-US"/>
          </a:p>
        </p:txBody>
      </p:sp>
      <p:sp>
        <p:nvSpPr>
          <p:cNvPr id="12" name="Content Placeholder 11"/>
          <p:cNvSpPr>
            <a:spLocks noGrp="1"/>
          </p:cNvSpPr>
          <p:nvPr>
            <p:ph sz="quarter" idx="13"/>
          </p:nvPr>
        </p:nvSpPr>
        <p:spPr>
          <a:xfrm>
            <a:off x="381292" y="1561184"/>
            <a:ext cx="11429416" cy="493103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p:cNvSpPr>
            <a:spLocks noGrp="1"/>
          </p:cNvSpPr>
          <p:nvPr>
            <p:ph type="body" sz="quarter" idx="14"/>
          </p:nvPr>
        </p:nvSpPr>
        <p:spPr>
          <a:xfrm>
            <a:off x="381293" y="838962"/>
            <a:ext cx="3007457" cy="452654"/>
          </a:xfrm>
        </p:spPr>
        <p:txBody>
          <a:bodyPr wrap="none">
            <a:spAutoFit/>
          </a:bodyPr>
          <a:lstStyle>
            <a:lvl1pPr>
              <a:defRPr sz="2353">
                <a:gradFill>
                  <a:gsLst>
                    <a:gs pos="2917">
                      <a:schemeClr val="tx1">
                        <a:lumMod val="75000"/>
                      </a:schemeClr>
                    </a:gs>
                    <a:gs pos="100000">
                      <a:schemeClr val="tx1">
                        <a:lumMod val="75000"/>
                      </a:schemeClr>
                    </a:gs>
                  </a:gsLst>
                  <a:lin ang="5400000" scaled="0"/>
                </a:gradFill>
              </a:defRPr>
            </a:lvl1pPr>
          </a:lstStyle>
          <a:p>
            <a:pPr lvl="0"/>
            <a:r>
              <a:rPr lang="en-US"/>
              <a:t>Edit Master text styles</a:t>
            </a:r>
          </a:p>
        </p:txBody>
      </p:sp>
    </p:spTree>
    <p:extLst>
      <p:ext uri="{BB962C8B-B14F-4D97-AF65-F5344CB8AC3E}">
        <p14:creationId xmlns:p14="http://schemas.microsoft.com/office/powerpoint/2010/main" val="3770937176"/>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51122485"/>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236576862"/>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671848"/>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4313925"/>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8426679"/>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46160564"/>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7813133"/>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696356419"/>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46325616"/>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t="7865" b="7865"/>
          <a:stretch/>
        </p:blipFill>
        <p:spPr>
          <a:xfrm>
            <a:off x="5" y="0"/>
            <a:ext cx="12191989" cy="6858967"/>
          </a:xfrm>
          <a:prstGeom prst="rect">
            <a:avLst/>
          </a:prstGeom>
        </p:spPr>
      </p:pic>
      <p:sp>
        <p:nvSpPr>
          <p:cNvPr id="2" name="Rectangle 1"/>
          <p:cNvSpPr/>
          <p:nvPr userDrawn="1"/>
        </p:nvSpPr>
        <p:spPr bwMode="auto">
          <a:xfrm>
            <a:off x="269239" y="2084172"/>
            <a:ext cx="8067823" cy="3586208"/>
          </a:xfrm>
          <a:prstGeom prst="rect">
            <a:avLst/>
          </a:prstGeom>
          <a:solidFill>
            <a:srgbClr val="5C2D91">
              <a:alpha val="87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86"/>
            <a:ext cx="8067761" cy="1793104"/>
          </a:xfrm>
          <a:noFill/>
        </p:spPr>
        <p:txBody>
          <a:bodyPr lIns="146304" tIns="91440" rIns="146304" bIns="91440" anchor="t" anchorCtr="0"/>
          <a:lstStyle>
            <a:lvl1pPr>
              <a:defRPr sz="5294" spc="-98" baseline="0">
                <a:gradFill>
                  <a:gsLst>
                    <a:gs pos="72727">
                      <a:srgbClr val="FFFFFF"/>
                    </a:gs>
                    <a:gs pos="36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1"/>
            <a:ext cx="8069380" cy="1789991"/>
          </a:xfrm>
        </p:spPr>
        <p:txBody>
          <a:bodyPr tIns="109728" bIns="109728">
            <a:noAutofit/>
          </a:bodyPr>
          <a:lstStyle>
            <a:lvl1pPr marL="0" indent="0">
              <a:spcBef>
                <a:spcPts val="0"/>
              </a:spcBef>
              <a:buNone/>
              <a:defRPr sz="3137">
                <a:gradFill>
                  <a:gsLst>
                    <a:gs pos="72727">
                      <a:srgbClr val="FFFFFF"/>
                    </a:gs>
                    <a:gs pos="36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71237" y="6047101"/>
            <a:ext cx="1590852" cy="340832"/>
          </a:xfrm>
          <a:prstGeom prst="rect">
            <a:avLst/>
          </a:prstGeom>
        </p:spPr>
      </p:pic>
    </p:spTree>
    <p:extLst>
      <p:ext uri="{BB962C8B-B14F-4D97-AF65-F5344CB8AC3E}">
        <p14:creationId xmlns:p14="http://schemas.microsoft.com/office/powerpoint/2010/main" val="1491225652"/>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50/50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Date Placeholder 5"/>
          <p:cNvSpPr>
            <a:spLocks noGrp="1"/>
          </p:cNvSpPr>
          <p:nvPr>
            <p:ph type="dt" sz="half" idx="10"/>
          </p:nvPr>
        </p:nvSpPr>
        <p:spPr/>
        <p:txBody>
          <a:bodyPr lIns="0" rIns="0"/>
          <a:lstStyle/>
          <a:p>
            <a:fld id="{757B4127-1B60-4204-8929-F301F611351E}" type="datetime1">
              <a:rPr lang="en-US" smtClean="0"/>
              <a:t>3/4/2019</a:t>
            </a:fld>
            <a:endParaRPr lang="en-US"/>
          </a:p>
        </p:txBody>
      </p:sp>
      <p:sp>
        <p:nvSpPr>
          <p:cNvPr id="7" name="Footer Placeholder 6"/>
          <p:cNvSpPr>
            <a:spLocks noGrp="1"/>
          </p:cNvSpPr>
          <p:nvPr>
            <p:ph type="ftr" sz="quarter" idx="11"/>
          </p:nvPr>
        </p:nvSpPr>
        <p:spPr/>
        <p:txBody>
          <a:bodyPr lIns="0" rIns="0"/>
          <a:lstStyle/>
          <a:p>
            <a:r>
              <a:rPr lang="en-US"/>
              <a:t>MICROSOFT CONFIDENTIAL Pre-release simulated screenshot shown, final experience may differ</a:t>
            </a:r>
          </a:p>
        </p:txBody>
      </p:sp>
      <p:sp>
        <p:nvSpPr>
          <p:cNvPr id="8" name="Slide Number Placeholder 7"/>
          <p:cNvSpPr>
            <a:spLocks noGrp="1"/>
          </p:cNvSpPr>
          <p:nvPr>
            <p:ph type="sldNum" sz="quarter" idx="12"/>
          </p:nvPr>
        </p:nvSpPr>
        <p:spPr/>
        <p:txBody>
          <a:bodyPr lIns="0" rIns="0"/>
          <a:lstStyle/>
          <a:p>
            <a:fld id="{9373C030-8119-439B-A7A2-330B51F4C009}" type="slidenum">
              <a:rPr lang="en-US" smtClean="0"/>
              <a:pPr/>
              <a:t>‹#›</a:t>
            </a:fld>
            <a:endParaRPr lang="en-US"/>
          </a:p>
        </p:txBody>
      </p:sp>
      <p:sp>
        <p:nvSpPr>
          <p:cNvPr id="12" name="Content Placeholder 11"/>
          <p:cNvSpPr>
            <a:spLocks noGrp="1"/>
          </p:cNvSpPr>
          <p:nvPr>
            <p:ph sz="quarter" idx="13"/>
          </p:nvPr>
        </p:nvSpPr>
        <p:spPr>
          <a:xfrm>
            <a:off x="381293" y="1561184"/>
            <a:ext cx="5576653" cy="493103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p:cNvSpPr>
            <a:spLocks noGrp="1"/>
          </p:cNvSpPr>
          <p:nvPr>
            <p:ph type="body" sz="quarter" idx="14"/>
          </p:nvPr>
        </p:nvSpPr>
        <p:spPr>
          <a:xfrm>
            <a:off x="381293" y="838962"/>
            <a:ext cx="3007457" cy="452654"/>
          </a:xfrm>
        </p:spPr>
        <p:txBody>
          <a:bodyPr wrap="none">
            <a:spAutoFit/>
          </a:bodyPr>
          <a:lstStyle>
            <a:lvl1pPr>
              <a:defRPr sz="2353">
                <a:gradFill>
                  <a:gsLst>
                    <a:gs pos="2917">
                      <a:schemeClr val="tx1">
                        <a:lumMod val="75000"/>
                      </a:schemeClr>
                    </a:gs>
                    <a:gs pos="100000">
                      <a:schemeClr val="tx1">
                        <a:lumMod val="75000"/>
                      </a:schemeClr>
                    </a:gs>
                  </a:gsLst>
                  <a:lin ang="5400000" scaled="0"/>
                </a:gradFill>
              </a:defRPr>
            </a:lvl1pPr>
          </a:lstStyle>
          <a:p>
            <a:pPr lvl="0"/>
            <a:r>
              <a:rPr lang="en-US"/>
              <a:t>Edit Master text styles</a:t>
            </a:r>
          </a:p>
        </p:txBody>
      </p:sp>
      <p:sp>
        <p:nvSpPr>
          <p:cNvPr id="9" name="Content Placeholder 11"/>
          <p:cNvSpPr>
            <a:spLocks noGrp="1"/>
          </p:cNvSpPr>
          <p:nvPr>
            <p:ph sz="quarter" idx="15"/>
          </p:nvPr>
        </p:nvSpPr>
        <p:spPr>
          <a:xfrm>
            <a:off x="6231102" y="1561184"/>
            <a:ext cx="5576653" cy="493103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2919172"/>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48585" y="476318"/>
            <a:ext cx="1792850" cy="384107"/>
          </a:xfrm>
          <a:prstGeom prst="rect">
            <a:avLst/>
          </a:prstGeom>
        </p:spPr>
      </p:pic>
    </p:spTree>
    <p:extLst>
      <p:ext uri="{BB962C8B-B14F-4D97-AF65-F5344CB8AC3E}">
        <p14:creationId xmlns:p14="http://schemas.microsoft.com/office/powerpoint/2010/main" val="2943847340"/>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8602014"/>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9326916"/>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1786343"/>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17783559"/>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53950246"/>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25456637"/>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467893"/>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3943817"/>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7173941"/>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Pillars and Imag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Date Placeholder 5"/>
          <p:cNvSpPr>
            <a:spLocks noGrp="1"/>
          </p:cNvSpPr>
          <p:nvPr>
            <p:ph type="dt" sz="half" idx="10"/>
          </p:nvPr>
        </p:nvSpPr>
        <p:spPr/>
        <p:txBody>
          <a:bodyPr lIns="0" rIns="0"/>
          <a:lstStyle/>
          <a:p>
            <a:fld id="{79381C80-ABBA-4991-AF4A-4A4059C67386}" type="datetime1">
              <a:rPr lang="en-US" smtClean="0"/>
              <a:t>3/4/2019</a:t>
            </a:fld>
            <a:endParaRPr lang="en-US"/>
          </a:p>
        </p:txBody>
      </p:sp>
      <p:sp>
        <p:nvSpPr>
          <p:cNvPr id="7" name="Footer Placeholder 6"/>
          <p:cNvSpPr>
            <a:spLocks noGrp="1"/>
          </p:cNvSpPr>
          <p:nvPr>
            <p:ph type="ftr" sz="quarter" idx="11"/>
          </p:nvPr>
        </p:nvSpPr>
        <p:spPr/>
        <p:txBody>
          <a:bodyPr lIns="0" rIns="0"/>
          <a:lstStyle/>
          <a:p>
            <a:r>
              <a:rPr lang="en-US"/>
              <a:t>MICROSOFT CONFIDENTIAL Pre-release simulated screenshot shown, final experience may differ</a:t>
            </a:r>
          </a:p>
        </p:txBody>
      </p:sp>
      <p:sp>
        <p:nvSpPr>
          <p:cNvPr id="8" name="Slide Number Placeholder 7"/>
          <p:cNvSpPr>
            <a:spLocks noGrp="1"/>
          </p:cNvSpPr>
          <p:nvPr>
            <p:ph type="sldNum" sz="quarter" idx="12"/>
          </p:nvPr>
        </p:nvSpPr>
        <p:spPr/>
        <p:txBody>
          <a:bodyPr lIns="0" rIns="0"/>
          <a:lstStyle/>
          <a:p>
            <a:fld id="{9373C030-8119-439B-A7A2-330B51F4C009}" type="slidenum">
              <a:rPr lang="en-US" smtClean="0"/>
              <a:pPr/>
              <a:t>‹#›</a:t>
            </a:fld>
            <a:endParaRPr lang="en-US"/>
          </a:p>
        </p:txBody>
      </p:sp>
      <p:sp>
        <p:nvSpPr>
          <p:cNvPr id="5" name="Text Placeholder 4"/>
          <p:cNvSpPr>
            <a:spLocks noGrp="1"/>
          </p:cNvSpPr>
          <p:nvPr>
            <p:ph type="body" sz="quarter" idx="18"/>
          </p:nvPr>
        </p:nvSpPr>
        <p:spPr>
          <a:xfrm>
            <a:off x="381293" y="2851534"/>
            <a:ext cx="2689274" cy="3640687"/>
          </a:xfrm>
        </p:spPr>
        <p:txBody>
          <a:bodyPr/>
          <a:lstStyle>
            <a:lvl1pPr>
              <a:defRPr sz="1568"/>
            </a:lvl1pPr>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p:cNvSpPr>
            <a:spLocks noGrp="1"/>
          </p:cNvSpPr>
          <p:nvPr>
            <p:ph type="body" sz="quarter" idx="19"/>
          </p:nvPr>
        </p:nvSpPr>
        <p:spPr>
          <a:xfrm>
            <a:off x="3294673" y="2851534"/>
            <a:ext cx="2689274" cy="3640687"/>
          </a:xfrm>
        </p:spPr>
        <p:txBody>
          <a:bodyPr/>
          <a:lstStyle>
            <a:lvl1pPr>
              <a:defRPr sz="1568"/>
            </a:lvl1pPr>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4"/>
          <p:cNvSpPr>
            <a:spLocks noGrp="1"/>
          </p:cNvSpPr>
          <p:nvPr>
            <p:ph type="body" sz="quarter" idx="20"/>
          </p:nvPr>
        </p:nvSpPr>
        <p:spPr>
          <a:xfrm>
            <a:off x="6208054" y="2851534"/>
            <a:ext cx="2689274" cy="3640687"/>
          </a:xfrm>
        </p:spPr>
        <p:txBody>
          <a:bodyPr/>
          <a:lstStyle>
            <a:lvl1pPr>
              <a:defRPr sz="1568"/>
            </a:lvl1pPr>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4"/>
          <p:cNvSpPr>
            <a:spLocks noGrp="1"/>
          </p:cNvSpPr>
          <p:nvPr>
            <p:ph type="body" sz="quarter" idx="21"/>
          </p:nvPr>
        </p:nvSpPr>
        <p:spPr>
          <a:xfrm>
            <a:off x="9121434" y="2851534"/>
            <a:ext cx="2689274" cy="3640687"/>
          </a:xfrm>
        </p:spPr>
        <p:txBody>
          <a:bodyPr/>
          <a:lstStyle>
            <a:lvl1pPr>
              <a:defRPr sz="1568"/>
            </a:lvl1pPr>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Picture Placeholder 8"/>
          <p:cNvSpPr>
            <a:spLocks noGrp="1" noChangeAspect="1"/>
          </p:cNvSpPr>
          <p:nvPr>
            <p:ph type="pic" sz="quarter" idx="14" hasCustomPrompt="1"/>
          </p:nvPr>
        </p:nvSpPr>
        <p:spPr>
          <a:xfrm>
            <a:off x="381293" y="1212687"/>
            <a:ext cx="2689274" cy="1511000"/>
          </a:xfrm>
          <a:noFill/>
        </p:spPr>
        <p:txBody>
          <a:bodyPr lIns="274320" tIns="0" rIns="274320" bIns="182880" anchor="b"/>
          <a:lstStyle>
            <a:lvl1pPr algn="ctr">
              <a:spcAft>
                <a:spcPts val="1765"/>
              </a:spcAft>
              <a:defRPr sz="980" baseline="0">
                <a:solidFill>
                  <a:srgbClr val="C00000"/>
                </a:solidFill>
              </a:defRPr>
            </a:lvl1pPr>
          </a:lstStyle>
          <a:p>
            <a:r>
              <a:rPr lang="en-US"/>
              <a:t>Paste Image Here. To remove crop: Picture Tools &gt; Crop drop menu &gt; Fit</a:t>
            </a:r>
          </a:p>
        </p:txBody>
      </p:sp>
      <p:sp>
        <p:nvSpPr>
          <p:cNvPr id="26" name="Picture Placeholder 8"/>
          <p:cNvSpPr>
            <a:spLocks noGrp="1" noChangeAspect="1"/>
          </p:cNvSpPr>
          <p:nvPr>
            <p:ph type="pic" sz="quarter" idx="22" hasCustomPrompt="1"/>
          </p:nvPr>
        </p:nvSpPr>
        <p:spPr>
          <a:xfrm>
            <a:off x="3294673" y="1212687"/>
            <a:ext cx="2689274" cy="1511000"/>
          </a:xfrm>
          <a:noFill/>
        </p:spPr>
        <p:txBody>
          <a:bodyPr lIns="274320" tIns="0" rIns="274320" bIns="182880" anchor="b"/>
          <a:lstStyle>
            <a:lvl1pPr algn="ctr">
              <a:spcAft>
                <a:spcPts val="1765"/>
              </a:spcAft>
              <a:defRPr sz="980" baseline="0">
                <a:solidFill>
                  <a:srgbClr val="C00000"/>
                </a:solidFill>
              </a:defRPr>
            </a:lvl1pPr>
          </a:lstStyle>
          <a:p>
            <a:r>
              <a:rPr lang="en-US"/>
              <a:t>Paste Image Here. To remove crop: Picture Tools &gt; Crop drop menu &gt; Fit</a:t>
            </a:r>
          </a:p>
        </p:txBody>
      </p:sp>
      <p:sp>
        <p:nvSpPr>
          <p:cNvPr id="27" name="Picture Placeholder 8"/>
          <p:cNvSpPr>
            <a:spLocks noGrp="1" noChangeAspect="1"/>
          </p:cNvSpPr>
          <p:nvPr>
            <p:ph type="pic" sz="quarter" idx="23" hasCustomPrompt="1"/>
          </p:nvPr>
        </p:nvSpPr>
        <p:spPr>
          <a:xfrm>
            <a:off x="6208054" y="1212687"/>
            <a:ext cx="2689274" cy="1511000"/>
          </a:xfrm>
          <a:noFill/>
        </p:spPr>
        <p:txBody>
          <a:bodyPr lIns="274320" tIns="0" rIns="274320" bIns="182880" anchor="b"/>
          <a:lstStyle>
            <a:lvl1pPr algn="ctr">
              <a:spcAft>
                <a:spcPts val="1765"/>
              </a:spcAft>
              <a:defRPr sz="980" baseline="0">
                <a:solidFill>
                  <a:srgbClr val="C00000"/>
                </a:solidFill>
              </a:defRPr>
            </a:lvl1pPr>
          </a:lstStyle>
          <a:p>
            <a:r>
              <a:rPr lang="en-US"/>
              <a:t>Paste Image Here. To remove crop: Picture Tools &gt; Crop drop menu &gt; Fit</a:t>
            </a:r>
          </a:p>
        </p:txBody>
      </p:sp>
      <p:sp>
        <p:nvSpPr>
          <p:cNvPr id="28" name="Picture Placeholder 8"/>
          <p:cNvSpPr>
            <a:spLocks noGrp="1" noChangeAspect="1"/>
          </p:cNvSpPr>
          <p:nvPr>
            <p:ph type="pic" sz="quarter" idx="24" hasCustomPrompt="1"/>
          </p:nvPr>
        </p:nvSpPr>
        <p:spPr>
          <a:xfrm>
            <a:off x="9121434" y="1212687"/>
            <a:ext cx="2689274" cy="1511000"/>
          </a:xfrm>
          <a:noFill/>
        </p:spPr>
        <p:txBody>
          <a:bodyPr lIns="274320" tIns="0" rIns="274320" bIns="182880" anchor="b"/>
          <a:lstStyle>
            <a:lvl1pPr algn="ctr">
              <a:spcAft>
                <a:spcPts val="1765"/>
              </a:spcAft>
              <a:defRPr sz="980" baseline="0">
                <a:solidFill>
                  <a:srgbClr val="C00000"/>
                </a:solidFill>
              </a:defRPr>
            </a:lvl1pPr>
          </a:lstStyle>
          <a:p>
            <a:r>
              <a:rPr lang="en-US"/>
              <a:t>Paste Image Here. To remove crop: Picture Tools &gt; Crop drop menu &gt; Fit</a:t>
            </a:r>
          </a:p>
        </p:txBody>
      </p:sp>
    </p:spTree>
    <p:extLst>
      <p:ext uri="{BB962C8B-B14F-4D97-AF65-F5344CB8AC3E}">
        <p14:creationId xmlns:p14="http://schemas.microsoft.com/office/powerpoint/2010/main" val="892840853"/>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bg1"/>
                    </a:gs>
                    <a:gs pos="100000">
                      <a:schemeClr val="bg1"/>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595864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1352620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6063687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121751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390055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552531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0257042"/>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74245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23705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66049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sktop Screen Capture 16:9">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381292" y="1561184"/>
            <a:ext cx="7642803" cy="4931036"/>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03B1600-D517-4F30-B27F-97B78F6221C7}" type="datetime1">
              <a:rPr lang="en-US" smtClean="0"/>
              <a:t>3/4/2019</a:t>
            </a:fld>
            <a:endParaRPr lang="en-US"/>
          </a:p>
        </p:txBody>
      </p:sp>
      <p:sp>
        <p:nvSpPr>
          <p:cNvPr id="4" name="Footer Placeholder 3"/>
          <p:cNvSpPr>
            <a:spLocks noGrp="1"/>
          </p:cNvSpPr>
          <p:nvPr>
            <p:ph type="ftr" sz="quarter" idx="11"/>
          </p:nvPr>
        </p:nvSpPr>
        <p:spPr/>
        <p:txBody>
          <a:bodyPr/>
          <a:lstStyle/>
          <a:p>
            <a:r>
              <a:rPr lang="en-US"/>
              <a:t>MICROSOFT CONFIDENTIAL Pre-release simulated screenshot shown, final experience may differ</a:t>
            </a:r>
          </a:p>
        </p:txBody>
      </p:sp>
      <p:sp>
        <p:nvSpPr>
          <p:cNvPr id="5" name="Slide Number Placeholder 4"/>
          <p:cNvSpPr>
            <a:spLocks noGrp="1"/>
          </p:cNvSpPr>
          <p:nvPr>
            <p:ph type="sldNum" sz="quarter" idx="12"/>
          </p:nvPr>
        </p:nvSpPr>
        <p:spPr/>
        <p:txBody>
          <a:bodyPr/>
          <a:lstStyle/>
          <a:p>
            <a:fld id="{9373C030-8119-439B-A7A2-330B51F4C009}" type="slidenum">
              <a:rPr lang="en-US" smtClean="0"/>
              <a:pPr/>
              <a:t>‹#›</a:t>
            </a:fld>
            <a:endParaRPr lang="en-US"/>
          </a:p>
        </p:txBody>
      </p:sp>
      <p:sp>
        <p:nvSpPr>
          <p:cNvPr id="6" name="Content Placeholder 11"/>
          <p:cNvSpPr>
            <a:spLocks noGrp="1"/>
          </p:cNvSpPr>
          <p:nvPr>
            <p:ph sz="quarter" idx="13"/>
          </p:nvPr>
        </p:nvSpPr>
        <p:spPr>
          <a:xfrm>
            <a:off x="8187659" y="1561184"/>
            <a:ext cx="3623049" cy="4931036"/>
          </a:xfrm>
        </p:spPr>
        <p:txBody>
          <a:bodyPr/>
          <a:lstStyle>
            <a:lvl1pPr>
              <a:spcBef>
                <a:spcPts val="1176"/>
              </a:spcBef>
              <a:defRPr sz="1568"/>
            </a:lvl1pPr>
            <a:lvl2pPr>
              <a:spcBef>
                <a:spcPts val="0"/>
              </a:spcBef>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noChangeAspect="1"/>
          </p:cNvSpPr>
          <p:nvPr>
            <p:ph type="pic" sz="quarter" idx="14" hasCustomPrompt="1"/>
          </p:nvPr>
        </p:nvSpPr>
        <p:spPr>
          <a:xfrm>
            <a:off x="548543" y="1735676"/>
            <a:ext cx="6140181" cy="3449932"/>
          </a:xfrm>
          <a:solidFill>
            <a:srgbClr val="00172A"/>
          </a:solidFill>
        </p:spPr>
        <p:txBody>
          <a:bodyPr tIns="0" rIns="0" bIns="1097280" anchor="b"/>
          <a:lstStyle>
            <a:lvl1pPr algn="ctr">
              <a:defRPr sz="1765" baseline="0">
                <a:solidFill>
                  <a:srgbClr val="C00000"/>
                </a:solidFill>
              </a:defRPr>
            </a:lvl1pPr>
          </a:lstStyle>
          <a:p>
            <a:r>
              <a:rPr lang="en-US"/>
              <a:t>Paste full screen grab here (16:9 aspect ratio)</a:t>
            </a:r>
          </a:p>
        </p:txBody>
      </p:sp>
      <p:sp>
        <p:nvSpPr>
          <p:cNvPr id="10" name="Text Placeholder 2"/>
          <p:cNvSpPr>
            <a:spLocks noGrp="1"/>
          </p:cNvSpPr>
          <p:nvPr>
            <p:ph type="body" sz="quarter" idx="15"/>
          </p:nvPr>
        </p:nvSpPr>
        <p:spPr>
          <a:xfrm>
            <a:off x="381293" y="838962"/>
            <a:ext cx="3007457" cy="452654"/>
          </a:xfrm>
        </p:spPr>
        <p:txBody>
          <a:bodyPr wrap="none">
            <a:spAutoFit/>
          </a:bodyPr>
          <a:lstStyle>
            <a:lvl1pPr>
              <a:defRPr sz="2353">
                <a:gradFill>
                  <a:gsLst>
                    <a:gs pos="2917">
                      <a:schemeClr val="tx1">
                        <a:lumMod val="75000"/>
                      </a:schemeClr>
                    </a:gs>
                    <a:gs pos="100000">
                      <a:schemeClr val="tx1">
                        <a:lumMod val="75000"/>
                      </a:schemeClr>
                    </a:gs>
                  </a:gsLst>
                  <a:lin ang="5400000" scaled="0"/>
                </a:gradFill>
              </a:defRPr>
            </a:lvl1pPr>
          </a:lstStyle>
          <a:p>
            <a:pPr lvl="0"/>
            <a:r>
              <a:rPr lang="en-US"/>
              <a:t>Edit Master text styles</a:t>
            </a:r>
          </a:p>
        </p:txBody>
      </p:sp>
    </p:spTree>
    <p:extLst>
      <p:ext uri="{BB962C8B-B14F-4D97-AF65-F5344CB8AC3E}">
        <p14:creationId xmlns:p14="http://schemas.microsoft.com/office/powerpoint/2010/main" val="3857572878"/>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88247979"/>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3113059711"/>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724115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da-DK"/>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Date Placeholder 3"/>
          <p:cNvSpPr>
            <a:spLocks noGrp="1"/>
          </p:cNvSpPr>
          <p:nvPr>
            <p:ph type="dt" sz="half" idx="10"/>
          </p:nvPr>
        </p:nvSpPr>
        <p:spPr/>
        <p:txBody>
          <a:bodyPr/>
          <a:lstStyle/>
          <a:p>
            <a:fld id="{2CB86932-E3AF-415C-80D3-1D27704FCADC}" type="datetimeFigureOut">
              <a:rPr lang="da-DK" smtClean="0"/>
              <a:t>04-03-2019</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21FBA0F4-DB8A-45B9-BBB7-01D2847500B8}" type="slidenum">
              <a:rPr lang="da-DK" smtClean="0"/>
              <a:t>‹#›</a:t>
            </a:fld>
            <a:endParaRPr lang="da-DK"/>
          </a:p>
        </p:txBody>
      </p:sp>
    </p:spTree>
    <p:extLst>
      <p:ext uri="{BB962C8B-B14F-4D97-AF65-F5344CB8AC3E}">
        <p14:creationId xmlns:p14="http://schemas.microsoft.com/office/powerpoint/2010/main" val="1156030238"/>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a-DK"/>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Date Placeholder 3"/>
          <p:cNvSpPr>
            <a:spLocks noGrp="1"/>
          </p:cNvSpPr>
          <p:nvPr>
            <p:ph type="dt" sz="half" idx="10"/>
          </p:nvPr>
        </p:nvSpPr>
        <p:spPr/>
        <p:txBody>
          <a:bodyPr/>
          <a:lstStyle/>
          <a:p>
            <a:fld id="{2CB86932-E3AF-415C-80D3-1D27704FCADC}" type="datetimeFigureOut">
              <a:rPr lang="da-DK" smtClean="0"/>
              <a:t>04-03-2019</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21FBA0F4-DB8A-45B9-BBB7-01D2847500B8}" type="slidenum">
              <a:rPr lang="da-DK" smtClean="0"/>
              <a:t>‹#›</a:t>
            </a:fld>
            <a:endParaRPr lang="da-DK"/>
          </a:p>
        </p:txBody>
      </p:sp>
    </p:spTree>
    <p:extLst>
      <p:ext uri="{BB962C8B-B14F-4D97-AF65-F5344CB8AC3E}">
        <p14:creationId xmlns:p14="http://schemas.microsoft.com/office/powerpoint/2010/main" val="3942736492"/>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da-DK"/>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CB86932-E3AF-415C-80D3-1D27704FCADC}" type="datetimeFigureOut">
              <a:rPr lang="da-DK" smtClean="0"/>
              <a:t>04-03-2019</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21FBA0F4-DB8A-45B9-BBB7-01D2847500B8}" type="slidenum">
              <a:rPr lang="da-DK" smtClean="0"/>
              <a:t>‹#›</a:t>
            </a:fld>
            <a:endParaRPr lang="da-DK"/>
          </a:p>
        </p:txBody>
      </p:sp>
    </p:spTree>
    <p:extLst>
      <p:ext uri="{BB962C8B-B14F-4D97-AF65-F5344CB8AC3E}">
        <p14:creationId xmlns:p14="http://schemas.microsoft.com/office/powerpoint/2010/main" val="572159089"/>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a-DK"/>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5" name="Date Placeholder 4"/>
          <p:cNvSpPr>
            <a:spLocks noGrp="1"/>
          </p:cNvSpPr>
          <p:nvPr>
            <p:ph type="dt" sz="half" idx="10"/>
          </p:nvPr>
        </p:nvSpPr>
        <p:spPr/>
        <p:txBody>
          <a:bodyPr/>
          <a:lstStyle/>
          <a:p>
            <a:fld id="{2CB86932-E3AF-415C-80D3-1D27704FCADC}" type="datetimeFigureOut">
              <a:rPr lang="da-DK" smtClean="0"/>
              <a:t>04-03-2019</a:t>
            </a:fld>
            <a:endParaRPr lang="da-DK"/>
          </a:p>
        </p:txBody>
      </p:sp>
      <p:sp>
        <p:nvSpPr>
          <p:cNvPr id="6" name="Footer Placeholder 5"/>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21FBA0F4-DB8A-45B9-BBB7-01D2847500B8}" type="slidenum">
              <a:rPr lang="da-DK" smtClean="0"/>
              <a:t>‹#›</a:t>
            </a:fld>
            <a:endParaRPr lang="da-DK"/>
          </a:p>
        </p:txBody>
      </p:sp>
    </p:spTree>
    <p:extLst>
      <p:ext uri="{BB962C8B-B14F-4D97-AF65-F5344CB8AC3E}">
        <p14:creationId xmlns:p14="http://schemas.microsoft.com/office/powerpoint/2010/main" val="733504689"/>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da-DK"/>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Date Placeholder 6"/>
          <p:cNvSpPr>
            <a:spLocks noGrp="1"/>
          </p:cNvSpPr>
          <p:nvPr>
            <p:ph type="dt" sz="half" idx="10"/>
          </p:nvPr>
        </p:nvSpPr>
        <p:spPr/>
        <p:txBody>
          <a:bodyPr/>
          <a:lstStyle/>
          <a:p>
            <a:fld id="{2CB86932-E3AF-415C-80D3-1D27704FCADC}" type="datetimeFigureOut">
              <a:rPr lang="da-DK" smtClean="0"/>
              <a:t>04-03-2019</a:t>
            </a:fld>
            <a:endParaRPr lang="da-DK"/>
          </a:p>
        </p:txBody>
      </p:sp>
      <p:sp>
        <p:nvSpPr>
          <p:cNvPr id="8" name="Footer Placeholder 7"/>
          <p:cNvSpPr>
            <a:spLocks noGrp="1"/>
          </p:cNvSpPr>
          <p:nvPr>
            <p:ph type="ftr" sz="quarter" idx="11"/>
          </p:nvPr>
        </p:nvSpPr>
        <p:spPr/>
        <p:txBody>
          <a:bodyPr/>
          <a:lstStyle/>
          <a:p>
            <a:endParaRPr lang="da-DK"/>
          </a:p>
        </p:txBody>
      </p:sp>
      <p:sp>
        <p:nvSpPr>
          <p:cNvPr id="9" name="Slide Number Placeholder 8"/>
          <p:cNvSpPr>
            <a:spLocks noGrp="1"/>
          </p:cNvSpPr>
          <p:nvPr>
            <p:ph type="sldNum" sz="quarter" idx="12"/>
          </p:nvPr>
        </p:nvSpPr>
        <p:spPr/>
        <p:txBody>
          <a:bodyPr/>
          <a:lstStyle/>
          <a:p>
            <a:fld id="{21FBA0F4-DB8A-45B9-BBB7-01D2847500B8}" type="slidenum">
              <a:rPr lang="da-DK" smtClean="0"/>
              <a:t>‹#›</a:t>
            </a:fld>
            <a:endParaRPr lang="da-DK"/>
          </a:p>
        </p:txBody>
      </p:sp>
    </p:spTree>
    <p:extLst>
      <p:ext uri="{BB962C8B-B14F-4D97-AF65-F5344CB8AC3E}">
        <p14:creationId xmlns:p14="http://schemas.microsoft.com/office/powerpoint/2010/main" val="745694818"/>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a-DK"/>
          </a:p>
        </p:txBody>
      </p:sp>
      <p:sp>
        <p:nvSpPr>
          <p:cNvPr id="3" name="Date Placeholder 2"/>
          <p:cNvSpPr>
            <a:spLocks noGrp="1"/>
          </p:cNvSpPr>
          <p:nvPr>
            <p:ph type="dt" sz="half" idx="10"/>
          </p:nvPr>
        </p:nvSpPr>
        <p:spPr/>
        <p:txBody>
          <a:bodyPr/>
          <a:lstStyle/>
          <a:p>
            <a:fld id="{2CB86932-E3AF-415C-80D3-1D27704FCADC}" type="datetimeFigureOut">
              <a:rPr lang="da-DK" smtClean="0"/>
              <a:t>04-03-2019</a:t>
            </a:fld>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1FBA0F4-DB8A-45B9-BBB7-01D2847500B8}" type="slidenum">
              <a:rPr lang="da-DK" smtClean="0"/>
              <a:t>‹#›</a:t>
            </a:fld>
            <a:endParaRPr lang="da-DK"/>
          </a:p>
        </p:txBody>
      </p:sp>
    </p:spTree>
    <p:extLst>
      <p:ext uri="{BB962C8B-B14F-4D97-AF65-F5344CB8AC3E}">
        <p14:creationId xmlns:p14="http://schemas.microsoft.com/office/powerpoint/2010/main" val="3973254635"/>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CB86932-E3AF-415C-80D3-1D27704FCADC}" type="datetimeFigureOut">
              <a:rPr lang="da-DK" smtClean="0"/>
              <a:t>04-03-2019</a:t>
            </a:fld>
            <a:endParaRPr lang="da-DK"/>
          </a:p>
        </p:txBody>
      </p:sp>
      <p:sp>
        <p:nvSpPr>
          <p:cNvPr id="3" name="Footer Placeholder 2"/>
          <p:cNvSpPr>
            <a:spLocks noGrp="1"/>
          </p:cNvSpPr>
          <p:nvPr>
            <p:ph type="ftr" sz="quarter" idx="11"/>
          </p:nvPr>
        </p:nvSpPr>
        <p:spPr/>
        <p:txBody>
          <a:bodyPr/>
          <a:lstStyle/>
          <a:p>
            <a:endParaRPr lang="da-DK"/>
          </a:p>
        </p:txBody>
      </p:sp>
      <p:sp>
        <p:nvSpPr>
          <p:cNvPr id="4" name="Slide Number Placeholder 3"/>
          <p:cNvSpPr>
            <a:spLocks noGrp="1"/>
          </p:cNvSpPr>
          <p:nvPr>
            <p:ph type="sldNum" sz="quarter" idx="12"/>
          </p:nvPr>
        </p:nvSpPr>
        <p:spPr/>
        <p:txBody>
          <a:bodyPr/>
          <a:lstStyle/>
          <a:p>
            <a:fld id="{21FBA0F4-DB8A-45B9-BBB7-01D2847500B8}" type="slidenum">
              <a:rPr lang="da-DK" smtClean="0"/>
              <a:t>‹#›</a:t>
            </a:fld>
            <a:endParaRPr lang="da-DK"/>
          </a:p>
        </p:txBody>
      </p:sp>
    </p:spTree>
    <p:extLst>
      <p:ext uri="{BB962C8B-B14F-4D97-AF65-F5344CB8AC3E}">
        <p14:creationId xmlns:p14="http://schemas.microsoft.com/office/powerpoint/2010/main" val="2860219897"/>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sktop Screen Capture 16:9">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81291" y="998692"/>
            <a:ext cx="9350115" cy="5859308"/>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187659" y="6492220"/>
            <a:ext cx="869349" cy="358621"/>
          </a:xfrm>
        </p:spPr>
        <p:txBody>
          <a:bodyPr/>
          <a:lstStyle/>
          <a:p>
            <a:fld id="{403B1600-D517-4F30-B27F-97B78F6221C7}" type="datetime1">
              <a:rPr lang="en-US" smtClean="0"/>
              <a:t>3/4/2019</a:t>
            </a:fld>
            <a:endParaRPr lang="en-US"/>
          </a:p>
        </p:txBody>
      </p:sp>
      <p:sp>
        <p:nvSpPr>
          <p:cNvPr id="4" name="Footer Placeholder 3"/>
          <p:cNvSpPr>
            <a:spLocks noGrp="1"/>
          </p:cNvSpPr>
          <p:nvPr>
            <p:ph type="ftr" sz="quarter" idx="11"/>
          </p:nvPr>
        </p:nvSpPr>
        <p:spPr>
          <a:xfrm>
            <a:off x="381293" y="6492220"/>
            <a:ext cx="5714707" cy="358621"/>
          </a:xfrm>
        </p:spPr>
        <p:txBody>
          <a:bodyPr/>
          <a:lstStyle/>
          <a:p>
            <a:r>
              <a:rPr lang="en-US"/>
              <a:t>MICROSOFT CONFIDENTIAL Pre-release simulated screenshot shown, final experience may differ</a:t>
            </a:r>
          </a:p>
        </p:txBody>
      </p:sp>
      <p:sp>
        <p:nvSpPr>
          <p:cNvPr id="5" name="Slide Number Placeholder 4"/>
          <p:cNvSpPr>
            <a:spLocks noGrp="1"/>
          </p:cNvSpPr>
          <p:nvPr>
            <p:ph type="sldNum" sz="quarter" idx="12"/>
          </p:nvPr>
        </p:nvSpPr>
        <p:spPr/>
        <p:txBody>
          <a:bodyPr/>
          <a:lstStyle/>
          <a:p>
            <a:fld id="{9373C030-8119-439B-A7A2-330B51F4C009}" type="slidenum">
              <a:rPr lang="en-US" smtClean="0"/>
              <a:pPr/>
              <a:t>‹#›</a:t>
            </a:fld>
            <a:endParaRPr lang="en-US"/>
          </a:p>
        </p:txBody>
      </p:sp>
      <p:sp>
        <p:nvSpPr>
          <p:cNvPr id="9" name="Picture Placeholder 8"/>
          <p:cNvSpPr>
            <a:spLocks noGrp="1" noChangeAspect="1"/>
          </p:cNvSpPr>
          <p:nvPr>
            <p:ph type="pic" sz="quarter" idx="14" hasCustomPrompt="1"/>
          </p:nvPr>
        </p:nvSpPr>
        <p:spPr>
          <a:xfrm>
            <a:off x="662015" y="1282410"/>
            <a:ext cx="8786341" cy="4936708"/>
          </a:xfrm>
          <a:solidFill>
            <a:srgbClr val="00172A"/>
          </a:solidFill>
        </p:spPr>
        <p:txBody>
          <a:bodyPr tIns="0" rIns="0" bIns="1097280" anchor="b"/>
          <a:lstStyle>
            <a:lvl1pPr algn="ctr">
              <a:defRPr sz="1765" baseline="0">
                <a:solidFill>
                  <a:srgbClr val="C00000"/>
                </a:solidFill>
              </a:defRPr>
            </a:lvl1pPr>
          </a:lstStyle>
          <a:p>
            <a:r>
              <a:rPr lang="en-US"/>
              <a:t>Paste full screen grab here (16:9 aspect ratio)</a:t>
            </a:r>
          </a:p>
        </p:txBody>
      </p:sp>
      <p:sp>
        <p:nvSpPr>
          <p:cNvPr id="11" name="Content Placeholder 11"/>
          <p:cNvSpPr>
            <a:spLocks noGrp="1"/>
          </p:cNvSpPr>
          <p:nvPr>
            <p:ph sz="quarter" idx="13"/>
          </p:nvPr>
        </p:nvSpPr>
        <p:spPr>
          <a:xfrm>
            <a:off x="9849327" y="998693"/>
            <a:ext cx="1961382" cy="5493528"/>
          </a:xfrm>
        </p:spPr>
        <p:txBody>
          <a:bodyPr/>
          <a:lstStyle>
            <a:lvl1pPr>
              <a:spcBef>
                <a:spcPts val="1176"/>
              </a:spcBef>
              <a:defRPr sz="1568"/>
            </a:lvl1pPr>
            <a:lvl2pPr>
              <a:defRPr sz="1372"/>
            </a:lvl2pPr>
            <a:lvl3pPr>
              <a:defRPr sz="1372"/>
            </a:lvl3pPr>
            <a:lvl4pPr>
              <a:defRPr sz="1372"/>
            </a:lvl4pPr>
            <a:lvl5pPr>
              <a:defRPr sz="137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170429"/>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a-DK"/>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2CB86932-E3AF-415C-80D3-1D27704FCADC}" type="datetimeFigureOut">
              <a:rPr lang="da-DK" smtClean="0"/>
              <a:t>04-03-2019</a:t>
            </a:fld>
            <a:endParaRPr lang="da-DK"/>
          </a:p>
        </p:txBody>
      </p:sp>
      <p:sp>
        <p:nvSpPr>
          <p:cNvPr id="6" name="Footer Placeholder 5"/>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21FBA0F4-DB8A-45B9-BBB7-01D2847500B8}" type="slidenum">
              <a:rPr lang="da-DK" smtClean="0"/>
              <a:t>‹#›</a:t>
            </a:fld>
            <a:endParaRPr lang="da-DK"/>
          </a:p>
        </p:txBody>
      </p:sp>
    </p:spTree>
    <p:extLst>
      <p:ext uri="{BB962C8B-B14F-4D97-AF65-F5344CB8AC3E}">
        <p14:creationId xmlns:p14="http://schemas.microsoft.com/office/powerpoint/2010/main" val="342252613"/>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da-DK"/>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2CB86932-E3AF-415C-80D3-1D27704FCADC}" type="datetimeFigureOut">
              <a:rPr lang="da-DK" smtClean="0"/>
              <a:t>04-03-2019</a:t>
            </a:fld>
            <a:endParaRPr lang="da-DK"/>
          </a:p>
        </p:txBody>
      </p:sp>
      <p:sp>
        <p:nvSpPr>
          <p:cNvPr id="6" name="Footer Placeholder 5"/>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21FBA0F4-DB8A-45B9-BBB7-01D2847500B8}" type="slidenum">
              <a:rPr lang="da-DK" smtClean="0"/>
              <a:t>‹#›</a:t>
            </a:fld>
            <a:endParaRPr lang="da-DK"/>
          </a:p>
        </p:txBody>
      </p:sp>
    </p:spTree>
    <p:extLst>
      <p:ext uri="{BB962C8B-B14F-4D97-AF65-F5344CB8AC3E}">
        <p14:creationId xmlns:p14="http://schemas.microsoft.com/office/powerpoint/2010/main" val="1404104080"/>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a-DK"/>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Date Placeholder 3"/>
          <p:cNvSpPr>
            <a:spLocks noGrp="1"/>
          </p:cNvSpPr>
          <p:nvPr>
            <p:ph type="dt" sz="half" idx="10"/>
          </p:nvPr>
        </p:nvSpPr>
        <p:spPr/>
        <p:txBody>
          <a:bodyPr/>
          <a:lstStyle/>
          <a:p>
            <a:fld id="{2CB86932-E3AF-415C-80D3-1D27704FCADC}" type="datetimeFigureOut">
              <a:rPr lang="da-DK" smtClean="0"/>
              <a:t>04-03-2019</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21FBA0F4-DB8A-45B9-BBB7-01D2847500B8}" type="slidenum">
              <a:rPr lang="da-DK" smtClean="0"/>
              <a:t>‹#›</a:t>
            </a:fld>
            <a:endParaRPr lang="da-DK"/>
          </a:p>
        </p:txBody>
      </p:sp>
    </p:spTree>
    <p:extLst>
      <p:ext uri="{BB962C8B-B14F-4D97-AF65-F5344CB8AC3E}">
        <p14:creationId xmlns:p14="http://schemas.microsoft.com/office/powerpoint/2010/main" val="2270353503"/>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da-DK"/>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Date Placeholder 3"/>
          <p:cNvSpPr>
            <a:spLocks noGrp="1"/>
          </p:cNvSpPr>
          <p:nvPr>
            <p:ph type="dt" sz="half" idx="10"/>
          </p:nvPr>
        </p:nvSpPr>
        <p:spPr/>
        <p:txBody>
          <a:bodyPr/>
          <a:lstStyle/>
          <a:p>
            <a:fld id="{2CB86932-E3AF-415C-80D3-1D27704FCADC}" type="datetimeFigureOut">
              <a:rPr lang="da-DK" smtClean="0"/>
              <a:t>04-03-2019</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21FBA0F4-DB8A-45B9-BBB7-01D2847500B8}" type="slidenum">
              <a:rPr lang="da-DK" smtClean="0"/>
              <a:t>‹#›</a:t>
            </a:fld>
            <a:endParaRPr lang="da-DK"/>
          </a:p>
        </p:txBody>
      </p:sp>
    </p:spTree>
    <p:extLst>
      <p:ext uri="{BB962C8B-B14F-4D97-AF65-F5344CB8AC3E}">
        <p14:creationId xmlns:p14="http://schemas.microsoft.com/office/powerpoint/2010/main" val="2431836995"/>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51575" y="5033095"/>
            <a:ext cx="5433644" cy="1881715"/>
          </a:xfrm>
          <a:prstGeom prst="rect">
            <a:avLst/>
          </a:prstGeom>
        </p:spPr>
      </p:pic>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569397335"/>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96085" y="6102166"/>
            <a:ext cx="2159890" cy="747988"/>
          </a:xfrm>
          <a:prstGeom prst="rect">
            <a:avLst/>
          </a:prstGeom>
        </p:spPr>
      </p:pic>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750050405"/>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a:t>Click to edit Master subtitle style</a:t>
            </a:r>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dirty="0"/>
              <a:t>Click to edit Master text styles</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90828" y="6100346"/>
            <a:ext cx="2165148" cy="749808"/>
          </a:xfrm>
          <a:prstGeom prst="rect">
            <a:avLst/>
          </a:prstGeom>
        </p:spPr>
      </p:pic>
    </p:spTree>
    <p:extLst>
      <p:ext uri="{BB962C8B-B14F-4D97-AF65-F5344CB8AC3E}">
        <p14:creationId xmlns:p14="http://schemas.microsoft.com/office/powerpoint/2010/main" val="2498131443"/>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dirty="0"/>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90828" y="6100346"/>
            <a:ext cx="2165148" cy="749808"/>
          </a:xfrm>
          <a:prstGeom prst="rect">
            <a:avLst/>
          </a:prstGeom>
        </p:spPr>
      </p:pic>
    </p:spTree>
    <p:extLst>
      <p:ext uri="{BB962C8B-B14F-4D97-AF65-F5344CB8AC3E}">
        <p14:creationId xmlns:p14="http://schemas.microsoft.com/office/powerpoint/2010/main" val="3894975090"/>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dirty="0"/>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90828" y="6100346"/>
            <a:ext cx="2165148" cy="749808"/>
          </a:xfrm>
          <a:prstGeom prst="rect">
            <a:avLst/>
          </a:prstGeom>
        </p:spPr>
      </p:pic>
    </p:spTree>
    <p:extLst>
      <p:ext uri="{BB962C8B-B14F-4D97-AF65-F5344CB8AC3E}">
        <p14:creationId xmlns:p14="http://schemas.microsoft.com/office/powerpoint/2010/main" val="915698371"/>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dirty="0"/>
              <a:t>Click to edit Master title style</a:t>
            </a:r>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90828" y="6100346"/>
            <a:ext cx="2165148" cy="749808"/>
          </a:xfrm>
          <a:prstGeom prst="rect">
            <a:avLst/>
          </a:prstGeom>
        </p:spPr>
      </p:pic>
    </p:spTree>
    <p:extLst>
      <p:ext uri="{BB962C8B-B14F-4D97-AF65-F5344CB8AC3E}">
        <p14:creationId xmlns:p14="http://schemas.microsoft.com/office/powerpoint/2010/main" val="1161911496"/>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jp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image" Target="../media/image21.png"/><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image" Target="../media/image21.png"/><Relationship Id="rId3" Type="http://schemas.openxmlformats.org/officeDocument/2006/relationships/slideLayout" Target="../slideLayouts/slideLayout61.xml"/><Relationship Id="rId21" Type="http://schemas.openxmlformats.org/officeDocument/2006/relationships/slideLayout" Target="../slideLayouts/slideLayout79.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theme" Target="../theme/theme3.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0.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theme" Target="../theme/theme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3" Type="http://schemas.openxmlformats.org/officeDocument/2006/relationships/slideLayout" Target="../slideLayouts/slideLayout96.xml"/><Relationship Id="rId21" Type="http://schemas.openxmlformats.org/officeDocument/2006/relationships/slideLayout" Target="../slideLayouts/slideLayout114.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 Type="http://schemas.openxmlformats.org/officeDocument/2006/relationships/slideLayout" Target="../slideLayouts/slideLayout117.xml"/><Relationship Id="rId21" Type="http://schemas.openxmlformats.org/officeDocument/2006/relationships/slideLayout" Target="../slideLayouts/slideLayout135.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293" y="235035"/>
            <a:ext cx="11426462" cy="603538"/>
          </a:xfrm>
          <a:prstGeom prst="rect">
            <a:avLst/>
          </a:prstGeom>
        </p:spPr>
        <p:txBody>
          <a:bodyPr vert="horz" wrap="none" lIns="0" tIns="0" rIns="0" bIns="0" rtlCol="0" anchor="ctr">
            <a:noAutofit/>
          </a:bodyPr>
          <a:lstStyle/>
          <a:p>
            <a:r>
              <a:rPr lang="en-US"/>
              <a:t>Click to edit Master title style</a:t>
            </a:r>
          </a:p>
        </p:txBody>
      </p:sp>
      <p:sp>
        <p:nvSpPr>
          <p:cNvPr id="3" name="Text Placeholder 2"/>
          <p:cNvSpPr>
            <a:spLocks noGrp="1"/>
          </p:cNvSpPr>
          <p:nvPr>
            <p:ph type="body" idx="1"/>
          </p:nvPr>
        </p:nvSpPr>
        <p:spPr>
          <a:xfrm>
            <a:off x="381293" y="1544062"/>
            <a:ext cx="11426462" cy="4931036"/>
          </a:xfrm>
          <a:prstGeom prst="rect">
            <a:avLst/>
          </a:prstGeom>
        </p:spPr>
        <p:txBody>
          <a:bodyPr vert="horz" wrap="square" lIns="0" tIns="45720" rIns="0" bIns="45720" rtlCol="0" anchor="t">
            <a:noAutofit/>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7" name="Date Placeholder 6"/>
          <p:cNvSpPr>
            <a:spLocks noGrp="1"/>
          </p:cNvSpPr>
          <p:nvPr>
            <p:ph type="dt" sz="half" idx="2"/>
          </p:nvPr>
        </p:nvSpPr>
        <p:spPr>
          <a:xfrm>
            <a:off x="8187659" y="6492220"/>
            <a:ext cx="869349" cy="358621"/>
          </a:xfrm>
          <a:prstGeom prst="rect">
            <a:avLst/>
          </a:prstGeom>
        </p:spPr>
        <p:txBody>
          <a:bodyPr vert="horz" wrap="none" lIns="91440" tIns="45720" rIns="0" bIns="45720" rtlCol="0" anchor="ctr">
            <a:noAutofit/>
          </a:bodyPr>
          <a:lstStyle>
            <a:lvl1pPr algn="l">
              <a:defRPr sz="1078">
                <a:gradFill>
                  <a:gsLst>
                    <a:gs pos="2917">
                      <a:srgbClr val="505050"/>
                    </a:gs>
                    <a:gs pos="100000">
                      <a:srgbClr val="505050"/>
                    </a:gs>
                  </a:gsLst>
                  <a:lin ang="5400000" scaled="0"/>
                </a:gradFill>
              </a:defRPr>
            </a:lvl1pPr>
          </a:lstStyle>
          <a:p>
            <a:fld id="{C7B1B2E6-798F-420F-BF07-73CC7DB770F3}" type="datetime1">
              <a:rPr lang="en-US" smtClean="0"/>
              <a:t>3/4/2019</a:t>
            </a:fld>
            <a:endParaRPr lang="en-US"/>
          </a:p>
        </p:txBody>
      </p:sp>
      <p:sp>
        <p:nvSpPr>
          <p:cNvPr id="8" name="Footer Placeholder 7"/>
          <p:cNvSpPr>
            <a:spLocks noGrp="1"/>
          </p:cNvSpPr>
          <p:nvPr>
            <p:ph type="ftr" sz="quarter" idx="3"/>
          </p:nvPr>
        </p:nvSpPr>
        <p:spPr>
          <a:xfrm>
            <a:off x="381293" y="6492220"/>
            <a:ext cx="5714707" cy="358621"/>
          </a:xfrm>
          <a:prstGeom prst="rect">
            <a:avLst/>
          </a:prstGeom>
        </p:spPr>
        <p:txBody>
          <a:bodyPr vert="horz" wrap="none" lIns="0" tIns="45720" rIns="0" bIns="45720" rtlCol="0" anchor="ctr">
            <a:noAutofit/>
          </a:bodyPr>
          <a:lstStyle>
            <a:lvl1pPr algn="l">
              <a:defRPr sz="1078">
                <a:gradFill>
                  <a:gsLst>
                    <a:gs pos="2917">
                      <a:srgbClr val="505050"/>
                    </a:gs>
                    <a:gs pos="100000">
                      <a:srgbClr val="505050"/>
                    </a:gs>
                  </a:gsLst>
                  <a:lin ang="5400000" scaled="0"/>
                </a:gradFill>
              </a:defRPr>
            </a:lvl1pPr>
          </a:lstStyle>
          <a:p>
            <a:r>
              <a:rPr lang="en-US"/>
              <a:t>MICROSOFT CONFIDENTIAL Pre-release simulated screenshot shown, final experience may differ</a:t>
            </a:r>
          </a:p>
        </p:txBody>
      </p:sp>
      <p:sp>
        <p:nvSpPr>
          <p:cNvPr id="9" name="Slide Number Placeholder 8"/>
          <p:cNvSpPr>
            <a:spLocks noGrp="1"/>
          </p:cNvSpPr>
          <p:nvPr>
            <p:ph type="sldNum" sz="quarter" idx="4"/>
          </p:nvPr>
        </p:nvSpPr>
        <p:spPr>
          <a:xfrm>
            <a:off x="11445808" y="6492220"/>
            <a:ext cx="364901" cy="358621"/>
          </a:xfrm>
          <a:prstGeom prst="rect">
            <a:avLst/>
          </a:prstGeom>
        </p:spPr>
        <p:txBody>
          <a:bodyPr vert="horz" wrap="none" lIns="91440" tIns="45720" rIns="0" bIns="45720" rtlCol="0" anchor="ctr">
            <a:noAutofit/>
          </a:bodyPr>
          <a:lstStyle>
            <a:lvl1pPr algn="r">
              <a:defRPr sz="1078">
                <a:gradFill>
                  <a:gsLst>
                    <a:gs pos="2917">
                      <a:srgbClr val="505050"/>
                    </a:gs>
                    <a:gs pos="100000">
                      <a:srgbClr val="505050"/>
                    </a:gs>
                  </a:gsLst>
                  <a:lin ang="5400000" scaled="0"/>
                </a:gradFill>
              </a:defRPr>
            </a:lvl1pPr>
          </a:lstStyle>
          <a:p>
            <a:fld id="{9373C030-8119-439B-A7A2-330B51F4C009}" type="slidenum">
              <a:rPr lang="en-US" smtClean="0"/>
              <a:pPr/>
              <a:t>‹#›</a:t>
            </a:fld>
            <a:endParaRPr lang="en-US"/>
          </a:p>
        </p:txBody>
      </p:sp>
      <p:pic>
        <p:nvPicPr>
          <p:cNvPr id="4" name="Picture 3"/>
          <p:cNvPicPr>
            <a:picLocks noChangeAspect="1"/>
          </p:cNvPicPr>
          <p:nvPr userDrawn="1"/>
        </p:nvPicPr>
        <p:blipFill>
          <a:blip r:embed="rId39"/>
          <a:stretch>
            <a:fillRect/>
          </a:stretch>
        </p:blipFill>
        <p:spPr>
          <a:xfrm>
            <a:off x="12243590" y="1"/>
            <a:ext cx="1027990" cy="2408945"/>
          </a:xfrm>
          <a:prstGeom prst="rect">
            <a:avLst/>
          </a:prstGeom>
        </p:spPr>
      </p:pic>
    </p:spTree>
    <p:extLst>
      <p:ext uri="{BB962C8B-B14F-4D97-AF65-F5344CB8AC3E}">
        <p14:creationId xmlns:p14="http://schemas.microsoft.com/office/powerpoint/2010/main" val="40055427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Lst>
  <mc:AlternateContent xmlns:mc="http://schemas.openxmlformats.org/markup-compatibility/2006" xmlns:p14="http://schemas.microsoft.com/office/powerpoint/2010/main">
    <mc:Choice Requires="p14">
      <p:transition spd="slow" p14:dur="59000"/>
    </mc:Choice>
    <mc:Fallback xmlns="">
      <p:transition spd="slow"/>
    </mc:Fallback>
  </mc:AlternateContent>
  <p:hf sldNum="0" hdr="0" ftr="0" dt="0"/>
  <p:txStyles>
    <p:titleStyle>
      <a:lvl1pPr algn="l" defTabSz="914225" rtl="0" eaLnBrk="1" latinLnBrk="0" hangingPunct="1">
        <a:spcBef>
          <a:spcPct val="0"/>
        </a:spcBef>
        <a:buNone/>
        <a:defRPr sz="3921" kern="1200" spc="-29" baseline="0">
          <a:gradFill>
            <a:gsLst>
              <a:gs pos="2917">
                <a:schemeClr val="tx1">
                  <a:lumMod val="75000"/>
                </a:schemeClr>
              </a:gs>
              <a:gs pos="100000">
                <a:schemeClr val="tx1">
                  <a:lumMod val="75000"/>
                </a:schemeClr>
              </a:gs>
            </a:gsLst>
            <a:lin ang="5400000" scaled="0"/>
          </a:gradFill>
          <a:latin typeface="Segoe UI Semilight" panose="020B0402040204020203" pitchFamily="34" charset="0"/>
          <a:ea typeface="+mj-ea"/>
          <a:cs typeface="Segoe UI Semilight" panose="020B0402040204020203" pitchFamily="34" charset="0"/>
        </a:defRPr>
      </a:lvl1pPr>
    </p:titleStyle>
    <p:bodyStyle>
      <a:lvl1pPr marL="0" indent="0" algn="l" defTabSz="914225" rtl="0" eaLnBrk="1" latinLnBrk="0" hangingPunct="1">
        <a:spcBef>
          <a:spcPts val="1765"/>
        </a:spcBef>
        <a:spcAft>
          <a:spcPts val="0"/>
        </a:spcAft>
        <a:buFont typeface="Arial" panose="020B0604020202020204" pitchFamily="34" charset="0"/>
        <a:buNone/>
        <a:defRPr sz="2745" kern="1200" baseline="0">
          <a:gradFill>
            <a:gsLst>
              <a:gs pos="2917">
                <a:srgbClr val="0078D7"/>
              </a:gs>
              <a:gs pos="100000">
                <a:srgbClr val="0078D7">
                  <a:alpha val="99000"/>
                </a:srgbClr>
              </a:gs>
            </a:gsLst>
            <a:lin ang="5400000" scaled="0"/>
          </a:gradFill>
          <a:latin typeface="Segoe UI Semibold" panose="020B0702040204020203" pitchFamily="34" charset="0"/>
          <a:ea typeface="+mn-ea"/>
          <a:cs typeface="Segoe UI Semibold" panose="020B0702040204020203" pitchFamily="34" charset="0"/>
        </a:defRPr>
      </a:lvl1pPr>
      <a:lvl2pPr marL="0" indent="0" algn="l" defTabSz="914225" rtl="0" eaLnBrk="1" latinLnBrk="0" hangingPunct="1">
        <a:spcBef>
          <a:spcPts val="588"/>
        </a:spcBef>
        <a:spcAft>
          <a:spcPts val="588"/>
        </a:spcAft>
        <a:buClr>
          <a:schemeClr val="bg1">
            <a:lumMod val="65000"/>
          </a:schemeClr>
        </a:buClr>
        <a:buFont typeface="Arial" panose="020B0604020202020204" pitchFamily="34" charset="0"/>
        <a:buNone/>
        <a:defRPr sz="2353" kern="1200">
          <a:gradFill>
            <a:gsLst>
              <a:gs pos="2917">
                <a:schemeClr val="tx1">
                  <a:lumMod val="75000"/>
                  <a:alpha val="99000"/>
                </a:schemeClr>
              </a:gs>
              <a:gs pos="100000">
                <a:schemeClr val="tx1">
                  <a:lumMod val="75000"/>
                </a:schemeClr>
              </a:gs>
            </a:gsLst>
            <a:lin ang="5400000" scaled="0"/>
          </a:gradFill>
          <a:latin typeface="+mn-lt"/>
          <a:ea typeface="+mn-ea"/>
          <a:cs typeface="+mn-cs"/>
        </a:defRPr>
      </a:lvl2pPr>
      <a:lvl3pPr marL="224097" indent="-220984" algn="l" defTabSz="914225" rtl="0" eaLnBrk="1" latinLnBrk="0" hangingPunct="1">
        <a:spcBef>
          <a:spcPts val="0"/>
        </a:spcBef>
        <a:spcAft>
          <a:spcPts val="588"/>
        </a:spcAft>
        <a:buClr>
          <a:srgbClr val="0078D7"/>
        </a:buClr>
        <a:buFont typeface="Arial" panose="020B0604020202020204" pitchFamily="34" charset="0"/>
        <a:buChar char="•"/>
        <a:defRPr sz="2353" kern="1200">
          <a:gradFill>
            <a:gsLst>
              <a:gs pos="2917">
                <a:schemeClr val="tx1">
                  <a:lumMod val="75000"/>
                  <a:alpha val="99000"/>
                </a:schemeClr>
              </a:gs>
              <a:gs pos="100000">
                <a:schemeClr val="tx1">
                  <a:lumMod val="75000"/>
                </a:schemeClr>
              </a:gs>
            </a:gsLst>
            <a:lin ang="5400000" scaled="0"/>
          </a:gradFill>
          <a:latin typeface="+mn-lt"/>
          <a:ea typeface="+mn-ea"/>
          <a:cs typeface="+mn-cs"/>
        </a:defRPr>
      </a:lvl3pPr>
      <a:lvl4pPr marL="557129" indent="-333032" algn="l" defTabSz="914225" rtl="0" eaLnBrk="1" latinLnBrk="0" hangingPunct="1">
        <a:spcBef>
          <a:spcPts val="0"/>
        </a:spcBef>
        <a:spcAft>
          <a:spcPts val="784"/>
        </a:spcAft>
        <a:buClr>
          <a:srgbClr val="0078D7"/>
        </a:buClr>
        <a:buFont typeface="Segoe UI Symbol" panose="020B0502040204020203" pitchFamily="34" charset="0"/>
        <a:buChar char=""/>
        <a:defRPr sz="1961" kern="1200">
          <a:gradFill>
            <a:gsLst>
              <a:gs pos="2917">
                <a:schemeClr val="tx1">
                  <a:lumMod val="75000"/>
                  <a:alpha val="99000"/>
                </a:schemeClr>
              </a:gs>
              <a:gs pos="100000">
                <a:schemeClr val="tx1">
                  <a:lumMod val="75000"/>
                </a:schemeClr>
              </a:gs>
            </a:gsLst>
            <a:lin ang="5400000" scaled="0"/>
          </a:gradFill>
          <a:latin typeface="+mn-lt"/>
          <a:ea typeface="+mn-ea"/>
          <a:cs typeface="+mn-cs"/>
        </a:defRPr>
      </a:lvl4pPr>
      <a:lvl5pPr marL="784338" indent="-222541" algn="l" defTabSz="914225" rtl="0" eaLnBrk="1" latinLnBrk="0" hangingPunct="1">
        <a:spcBef>
          <a:spcPts val="0"/>
        </a:spcBef>
        <a:spcAft>
          <a:spcPts val="784"/>
        </a:spcAft>
        <a:buClr>
          <a:srgbClr val="0078D7"/>
        </a:buClr>
        <a:buFont typeface="Arial" panose="020B0604020202020204" pitchFamily="34" charset="0"/>
        <a:buChar char="+"/>
        <a:defRPr sz="1961" kern="1200" baseline="0">
          <a:gradFill>
            <a:gsLst>
              <a:gs pos="2917">
                <a:schemeClr val="tx1">
                  <a:lumMod val="75000"/>
                  <a:alpha val="99000"/>
                </a:schemeClr>
              </a:gs>
              <a:gs pos="100000">
                <a:schemeClr val="tx1">
                  <a:lumMod val="75000"/>
                </a:schemeClr>
              </a:gs>
            </a:gsLst>
            <a:lin ang="5400000" scaled="0"/>
          </a:gradFill>
          <a:latin typeface="+mn-lt"/>
          <a:ea typeface="+mn-ea"/>
          <a:cs typeface="+mn-cs"/>
        </a:defRPr>
      </a:lvl5pPr>
      <a:lvl6pPr marL="1064459" indent="-277008" algn="l" defTabSz="914225" rtl="0" eaLnBrk="1" latinLnBrk="0" hangingPunct="1">
        <a:spcBef>
          <a:spcPts val="0"/>
        </a:spcBef>
        <a:buClr>
          <a:schemeClr val="tx2"/>
        </a:buClr>
        <a:buFont typeface="+mj-lt"/>
        <a:buAutoNum type="alphaLcPeriod"/>
        <a:defRPr sz="1961" kern="1200">
          <a:solidFill>
            <a:schemeClr val="tx1"/>
          </a:solidFill>
          <a:latin typeface="+mn-lt"/>
          <a:ea typeface="+mn-ea"/>
          <a:cs typeface="+mn-cs"/>
        </a:defRPr>
      </a:lvl6pPr>
      <a:lvl7pPr marL="2971230" indent="-228556" algn="l" defTabSz="9142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341" indent="-228556" algn="l" defTabSz="9142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453" indent="-228556" algn="l" defTabSz="9142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225" rtl="0" eaLnBrk="1" latinLnBrk="0" hangingPunct="1">
        <a:defRPr sz="1800" kern="1200">
          <a:solidFill>
            <a:schemeClr val="tx1"/>
          </a:solidFill>
          <a:latin typeface="+mn-lt"/>
          <a:ea typeface="+mn-ea"/>
          <a:cs typeface="+mn-cs"/>
        </a:defRPr>
      </a:lvl1pPr>
      <a:lvl2pPr marL="457112" algn="l" defTabSz="914225" rtl="0" eaLnBrk="1" latinLnBrk="0" hangingPunct="1">
        <a:defRPr sz="1800" kern="1200">
          <a:solidFill>
            <a:schemeClr val="tx1"/>
          </a:solidFill>
          <a:latin typeface="+mn-lt"/>
          <a:ea typeface="+mn-ea"/>
          <a:cs typeface="+mn-cs"/>
        </a:defRPr>
      </a:lvl2pPr>
      <a:lvl3pPr marL="914225" algn="l" defTabSz="914225" rtl="0" eaLnBrk="1" latinLnBrk="0" hangingPunct="1">
        <a:defRPr sz="1800" kern="1200">
          <a:solidFill>
            <a:schemeClr val="tx1"/>
          </a:solidFill>
          <a:latin typeface="+mn-lt"/>
          <a:ea typeface="+mn-ea"/>
          <a:cs typeface="+mn-cs"/>
        </a:defRPr>
      </a:lvl3pPr>
      <a:lvl4pPr marL="1371337" algn="l" defTabSz="914225" rtl="0" eaLnBrk="1" latinLnBrk="0" hangingPunct="1">
        <a:defRPr sz="1800" kern="1200">
          <a:solidFill>
            <a:schemeClr val="tx1"/>
          </a:solidFill>
          <a:latin typeface="+mn-lt"/>
          <a:ea typeface="+mn-ea"/>
          <a:cs typeface="+mn-cs"/>
        </a:defRPr>
      </a:lvl4pPr>
      <a:lvl5pPr marL="1828449" algn="l" defTabSz="914225" rtl="0" eaLnBrk="1" latinLnBrk="0" hangingPunct="1">
        <a:defRPr sz="1800" kern="1200">
          <a:solidFill>
            <a:schemeClr val="tx1"/>
          </a:solidFill>
          <a:latin typeface="+mn-lt"/>
          <a:ea typeface="+mn-ea"/>
          <a:cs typeface="+mn-cs"/>
        </a:defRPr>
      </a:lvl5pPr>
      <a:lvl6pPr marL="2285561" algn="l" defTabSz="914225" rtl="0" eaLnBrk="1" latinLnBrk="0" hangingPunct="1">
        <a:defRPr sz="1800" kern="1200">
          <a:solidFill>
            <a:schemeClr val="tx1"/>
          </a:solidFill>
          <a:latin typeface="+mn-lt"/>
          <a:ea typeface="+mn-ea"/>
          <a:cs typeface="+mn-cs"/>
        </a:defRPr>
      </a:lvl6pPr>
      <a:lvl7pPr marL="2742674" algn="l" defTabSz="914225" rtl="0" eaLnBrk="1" latinLnBrk="0" hangingPunct="1">
        <a:defRPr sz="1800" kern="1200">
          <a:solidFill>
            <a:schemeClr val="tx1"/>
          </a:solidFill>
          <a:latin typeface="+mn-lt"/>
          <a:ea typeface="+mn-ea"/>
          <a:cs typeface="+mn-cs"/>
        </a:defRPr>
      </a:lvl7pPr>
      <a:lvl8pPr marL="3199785" algn="l" defTabSz="914225" rtl="0" eaLnBrk="1" latinLnBrk="0" hangingPunct="1">
        <a:defRPr sz="1800" kern="1200">
          <a:solidFill>
            <a:schemeClr val="tx1"/>
          </a:solidFill>
          <a:latin typeface="+mn-lt"/>
          <a:ea typeface="+mn-ea"/>
          <a:cs typeface="+mn-cs"/>
        </a:defRPr>
      </a:lvl8pPr>
      <a:lvl9pPr marL="3656897" algn="l" defTabSz="914225"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pos="245">
          <p15:clr>
            <a:srgbClr val="F26B43"/>
          </p15:clr>
        </p15:guide>
        <p15:guide id="3" pos="7589">
          <p15:clr>
            <a:srgbClr val="F26B43"/>
          </p15:clr>
        </p15:guide>
        <p15:guide id="4" pos="3917">
          <p15:clr>
            <a:srgbClr val="F26B43"/>
          </p15:clr>
        </p15:guide>
        <p15:guide id="5" orient="horz" pos="235">
          <p15:clr>
            <a:srgbClr val="F26B43"/>
          </p15:clr>
        </p15:guide>
        <p15:guide id="6" orient="horz" pos="4171">
          <p15:clr>
            <a:srgbClr val="F26B43"/>
          </p15:clr>
        </p15:guide>
        <p15:guide id="7" pos="2573">
          <p15:clr>
            <a:srgbClr val="F26B43"/>
          </p15:clr>
        </p15:guide>
        <p15:guide id="8" pos="526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3"/>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439081078"/>
      </p:ext>
    </p:extLst>
  </p:cSld>
  <p:clrMap bg1="dk1" tx1="lt1" bg2="dk2" tx2="lt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Lst>
  <mc:AlternateContent xmlns:mc="http://schemas.openxmlformats.org/markup-compatibility/2006" xmlns:p14="http://schemas.microsoft.com/office/powerpoint/2010/main">
    <mc:Choice Requires="p14">
      <p:transition spd="slow" p14:dur="59000"/>
    </mc:Choice>
    <mc:Fallback xmlns="">
      <p:transition spd="slow"/>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29">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279279364"/>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Lst>
  <mc:AlternateContent xmlns:mc="http://schemas.openxmlformats.org/markup-compatibility/2006" xmlns:p14="http://schemas.microsoft.com/office/powerpoint/2010/main">
    <mc:Choice Requires="p14">
      <p:transition spd="slow" p14:dur="59000"/>
    </mc:Choice>
    <mc:Fallback xmlns="">
      <p:transition spd="slow"/>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da-DK"/>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CB86932-E3AF-415C-80D3-1D27704FCADC}" type="datetimeFigureOut">
              <a:rPr lang="da-DK" smtClean="0"/>
              <a:t>04-03-2019</a:t>
            </a:fld>
            <a:endParaRPr lang="da-DK"/>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1FBA0F4-DB8A-45B9-BBB7-01D2847500B8}" type="slidenum">
              <a:rPr lang="da-DK" smtClean="0"/>
              <a:t>‹#›</a:t>
            </a:fld>
            <a:endParaRPr lang="da-DK"/>
          </a:p>
        </p:txBody>
      </p:sp>
    </p:spTree>
    <p:extLst>
      <p:ext uri="{BB962C8B-B14F-4D97-AF65-F5344CB8AC3E}">
        <p14:creationId xmlns:p14="http://schemas.microsoft.com/office/powerpoint/2010/main" val="1669202938"/>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Lst>
  <mc:AlternateContent xmlns:mc="http://schemas.openxmlformats.org/markup-compatibility/2006" xmlns:p14="http://schemas.microsoft.com/office/powerpoint/2010/main">
    <mc:Choice Requires="p14">
      <p:transition spd="slow" p14:dur="59000"/>
    </mc:Choice>
    <mc:Fallback xmlns="">
      <p:transition spd="slow"/>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49655810"/>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 id="2147483799" r:id="rId18"/>
    <p:sldLayoutId id="2147483800" r:id="rId19"/>
    <p:sldLayoutId id="2147483801" r:id="rId20"/>
    <p:sldLayoutId id="2147483831" r:id="rId21"/>
  </p:sldLayoutIdLst>
  <mc:AlternateContent xmlns:mc="http://schemas.openxmlformats.org/markup-compatibility/2006" xmlns:p14="http://schemas.microsoft.com/office/powerpoint/2010/main">
    <mc:Choice Requires="p14">
      <p:transition spd="slow" p14:dur="59000"/>
    </mc:Choice>
    <mc:Fallback xmlns="">
      <p:transition spd="slow"/>
    </mc:Fallback>
  </mc:AlternateContent>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3"/>
            <a:ext cx="11151917" cy="747897"/>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520837" y="1447803"/>
            <a:ext cx="11155093" cy="2055947"/>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79785261"/>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 id="2147483824" r:id="rId20"/>
    <p:sldLayoutId id="2147483825" r:id="rId21"/>
    <p:sldLayoutId id="2147483826" r:id="rId22"/>
    <p:sldLayoutId id="2147483827" r:id="rId23"/>
    <p:sldLayoutId id="2147483828" r:id="rId24"/>
    <p:sldLayoutId id="2147483829" r:id="rId25"/>
    <p:sldLayoutId id="2147483830" r:id="rId26"/>
  </p:sldLayoutIdLst>
  <mc:AlternateContent xmlns:mc="http://schemas.openxmlformats.org/markup-compatibility/2006" xmlns:p14="http://schemas.microsoft.com/office/powerpoint/2010/main">
    <mc:Choice Requires="p14">
      <p:transition spd="slow" p14:dur="59000"/>
    </mc:Choice>
    <mc:Fallback xmlns="">
      <p:transition spd="slow"/>
    </mc:Fallback>
  </mc:AlternateContent>
  <p:hf hdr="0" ftr="0" dt="0"/>
  <p:txStyles>
    <p:titleStyle>
      <a:lvl1pPr algn="l" defTabSz="914089" rtl="0" eaLnBrk="1" latinLnBrk="0" hangingPunct="1">
        <a:lnSpc>
          <a:spcPct val="90000"/>
        </a:lnSpc>
        <a:spcBef>
          <a:spcPct val="0"/>
        </a:spcBef>
        <a:buNone/>
        <a:defRPr lang="en-US" sz="5398"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623" marR="0" indent="-339623" algn="l" defTabSz="914089" rtl="0" eaLnBrk="1" fontAlgn="auto" latinLnBrk="0" hangingPunct="1">
        <a:lnSpc>
          <a:spcPct val="90000"/>
        </a:lnSpc>
        <a:spcBef>
          <a:spcPct val="20000"/>
        </a:spcBef>
        <a:spcAft>
          <a:spcPts val="0"/>
        </a:spcAft>
        <a:buClrTx/>
        <a:buSzPct val="80000"/>
        <a:buFont typeface="Arial" pitchFamily="34" charset="0"/>
        <a:buChar char="•"/>
        <a:tabLst/>
        <a:defRPr sz="3599" kern="1200" spc="-70" baseline="0">
          <a:gradFill>
            <a:gsLst>
              <a:gs pos="1250">
                <a:schemeClr val="bg2"/>
              </a:gs>
              <a:gs pos="100000">
                <a:schemeClr val="bg2"/>
              </a:gs>
            </a:gsLst>
            <a:lin ang="5400000" scaled="0"/>
          </a:gradFill>
          <a:latin typeface="+mj-lt"/>
          <a:ea typeface="+mn-ea"/>
          <a:cs typeface="+mn-cs"/>
        </a:defRPr>
      </a:lvl1pPr>
      <a:lvl2pPr marL="572916" marR="0" indent="-233293" algn="l" defTabSz="914089" rtl="0" eaLnBrk="1" fontAlgn="auto" latinLnBrk="0" hangingPunct="1">
        <a:lnSpc>
          <a:spcPct val="90000"/>
        </a:lnSpc>
        <a:spcBef>
          <a:spcPct val="20000"/>
        </a:spcBef>
        <a:spcAft>
          <a:spcPts val="0"/>
        </a:spcAft>
        <a:buClrTx/>
        <a:buSzPct val="90000"/>
        <a:buFont typeface="Wingdings" pitchFamily="2" charset="2"/>
        <a:buChar char=""/>
        <a:tabLst/>
        <a:defRPr sz="2399" kern="1200" spc="0" baseline="0">
          <a:gradFill>
            <a:gsLst>
              <a:gs pos="1250">
                <a:schemeClr val="bg2"/>
              </a:gs>
              <a:gs pos="100000">
                <a:schemeClr val="bg2"/>
              </a:gs>
            </a:gsLst>
            <a:lin ang="5400000" scaled="0"/>
          </a:gradFill>
          <a:latin typeface="+mn-lt"/>
          <a:ea typeface="+mn-ea"/>
          <a:cs typeface="+mn-cs"/>
        </a:defRPr>
      </a:lvl2pPr>
      <a:lvl3pPr marL="798273" marR="0" indent="-225357" algn="l" defTabSz="914089" rtl="0" eaLnBrk="1" fontAlgn="auto" latinLnBrk="0" hangingPunct="1">
        <a:lnSpc>
          <a:spcPct val="90000"/>
        </a:lnSpc>
        <a:spcBef>
          <a:spcPct val="20000"/>
        </a:spcBef>
        <a:spcAft>
          <a:spcPts val="0"/>
        </a:spcAft>
        <a:buClrTx/>
        <a:buSzPct val="90000"/>
        <a:buFont typeface="Wingdings" pitchFamily="2" charset="2"/>
        <a:buChar char=""/>
        <a:tabLst>
          <a:tab pos="798273" algn="l"/>
        </a:tabLst>
        <a:defRPr sz="2399" kern="1200" spc="0" baseline="0">
          <a:gradFill>
            <a:gsLst>
              <a:gs pos="1250">
                <a:schemeClr val="bg2"/>
              </a:gs>
              <a:gs pos="100000">
                <a:schemeClr val="bg2"/>
              </a:gs>
            </a:gsLst>
            <a:lin ang="5400000" scaled="0"/>
          </a:gradFill>
          <a:latin typeface="+mn-lt"/>
          <a:ea typeface="+mn-ea"/>
          <a:cs typeface="+mn-cs"/>
        </a:defRPr>
      </a:lvl3pPr>
      <a:lvl4pPr marL="1029979" marR="0" indent="-231705" algn="l" defTabSz="914089" rtl="0" eaLnBrk="1" fontAlgn="auto" latinLnBrk="0" hangingPunct="1">
        <a:lnSpc>
          <a:spcPct val="90000"/>
        </a:lnSpc>
        <a:spcBef>
          <a:spcPct val="20000"/>
        </a:spcBef>
        <a:spcAft>
          <a:spcPts val="0"/>
        </a:spcAft>
        <a:buClrTx/>
        <a:buSzPct val="90000"/>
        <a:buFont typeface="Wingdings" pitchFamily="2" charset="2"/>
        <a:buChar char=""/>
        <a:tabLst/>
        <a:defRPr sz="1999" kern="1200" spc="0" baseline="0">
          <a:gradFill>
            <a:gsLst>
              <a:gs pos="1250">
                <a:schemeClr val="bg2"/>
              </a:gs>
              <a:gs pos="100000">
                <a:schemeClr val="bg2"/>
              </a:gs>
            </a:gsLst>
            <a:lin ang="5400000" scaled="0"/>
          </a:gradFill>
          <a:latin typeface="+mn-lt"/>
          <a:ea typeface="+mn-ea"/>
          <a:cs typeface="+mn-cs"/>
        </a:defRPr>
      </a:lvl4pPr>
      <a:lvl5pPr marL="1255336" marR="0" indent="-225357" algn="l" defTabSz="914089" rtl="0" eaLnBrk="1" fontAlgn="auto" latinLnBrk="0" hangingPunct="1">
        <a:lnSpc>
          <a:spcPct val="90000"/>
        </a:lnSpc>
        <a:spcBef>
          <a:spcPct val="20000"/>
        </a:spcBef>
        <a:spcAft>
          <a:spcPts val="0"/>
        </a:spcAft>
        <a:buClrTx/>
        <a:buSzPct val="90000"/>
        <a:buFont typeface="Wingdings" pitchFamily="2" charset="2"/>
        <a:buChar char=""/>
        <a:tabLst>
          <a:tab pos="1255336" algn="l"/>
        </a:tabLst>
        <a:defRPr sz="1999" kern="1200" spc="0" baseline="0">
          <a:gradFill>
            <a:gsLst>
              <a:gs pos="1250">
                <a:schemeClr val="bg2"/>
              </a:gs>
              <a:gs pos="100000">
                <a:schemeClr val="bg2"/>
              </a:gs>
            </a:gsLst>
            <a:lin ang="5400000" scaled="0"/>
          </a:gradFill>
          <a:latin typeface="+mn-lt"/>
          <a:ea typeface="+mn-ea"/>
          <a:cs typeface="+mn-cs"/>
        </a:defRPr>
      </a:lvl5pPr>
      <a:lvl6pPr marL="2513745"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789"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834"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879"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4089" rtl="0" eaLnBrk="1" latinLnBrk="0" hangingPunct="1">
        <a:defRPr sz="1799" kern="1200">
          <a:solidFill>
            <a:schemeClr val="tx1"/>
          </a:solidFill>
          <a:latin typeface="+mn-lt"/>
          <a:ea typeface="+mn-ea"/>
          <a:cs typeface="+mn-cs"/>
        </a:defRPr>
      </a:lvl1pPr>
      <a:lvl2pPr marL="457045" algn="l" defTabSz="914089" rtl="0" eaLnBrk="1" latinLnBrk="0" hangingPunct="1">
        <a:defRPr sz="1799" kern="1200">
          <a:solidFill>
            <a:schemeClr val="tx1"/>
          </a:solidFill>
          <a:latin typeface="+mn-lt"/>
          <a:ea typeface="+mn-ea"/>
          <a:cs typeface="+mn-cs"/>
        </a:defRPr>
      </a:lvl2pPr>
      <a:lvl3pPr marL="914089" algn="l" defTabSz="914089" rtl="0" eaLnBrk="1" latinLnBrk="0" hangingPunct="1">
        <a:defRPr sz="1799" kern="1200">
          <a:solidFill>
            <a:schemeClr val="tx1"/>
          </a:solidFill>
          <a:latin typeface="+mn-lt"/>
          <a:ea typeface="+mn-ea"/>
          <a:cs typeface="+mn-cs"/>
        </a:defRPr>
      </a:lvl3pPr>
      <a:lvl4pPr marL="1371134" algn="l" defTabSz="914089" rtl="0" eaLnBrk="1" latinLnBrk="0" hangingPunct="1">
        <a:defRPr sz="1799" kern="1200">
          <a:solidFill>
            <a:schemeClr val="tx1"/>
          </a:solidFill>
          <a:latin typeface="+mn-lt"/>
          <a:ea typeface="+mn-ea"/>
          <a:cs typeface="+mn-cs"/>
        </a:defRPr>
      </a:lvl4pPr>
      <a:lvl5pPr marL="1828178" algn="l" defTabSz="914089" rtl="0" eaLnBrk="1" latinLnBrk="0" hangingPunct="1">
        <a:defRPr sz="1799" kern="1200">
          <a:solidFill>
            <a:schemeClr val="tx1"/>
          </a:solidFill>
          <a:latin typeface="+mn-lt"/>
          <a:ea typeface="+mn-ea"/>
          <a:cs typeface="+mn-cs"/>
        </a:defRPr>
      </a:lvl5pPr>
      <a:lvl6pPr marL="2285223" algn="l" defTabSz="914089" rtl="0" eaLnBrk="1" latinLnBrk="0" hangingPunct="1">
        <a:defRPr sz="1799" kern="1200">
          <a:solidFill>
            <a:schemeClr val="tx1"/>
          </a:solidFill>
          <a:latin typeface="+mn-lt"/>
          <a:ea typeface="+mn-ea"/>
          <a:cs typeface="+mn-cs"/>
        </a:defRPr>
      </a:lvl6pPr>
      <a:lvl7pPr marL="2742267" algn="l" defTabSz="914089" rtl="0" eaLnBrk="1" latinLnBrk="0" hangingPunct="1">
        <a:defRPr sz="1799" kern="1200">
          <a:solidFill>
            <a:schemeClr val="tx1"/>
          </a:solidFill>
          <a:latin typeface="+mn-lt"/>
          <a:ea typeface="+mn-ea"/>
          <a:cs typeface="+mn-cs"/>
        </a:defRPr>
      </a:lvl7pPr>
      <a:lvl8pPr marL="3199312" algn="l" defTabSz="914089" rtl="0" eaLnBrk="1" latinLnBrk="0" hangingPunct="1">
        <a:defRPr sz="1799" kern="1200">
          <a:solidFill>
            <a:schemeClr val="tx1"/>
          </a:solidFill>
          <a:latin typeface="+mn-lt"/>
          <a:ea typeface="+mn-ea"/>
          <a:cs typeface="+mn-cs"/>
        </a:defRPr>
      </a:lvl8pPr>
      <a:lvl9pPr marL="3656357" algn="l" defTabSz="914089"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99.xml"/></Relationships>
</file>

<file path=ppt/slides/_rels/slide1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99.xml"/></Relationships>
</file>

<file path=ppt/slides/_rels/slide1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99.xml"/></Relationships>
</file>

<file path=ppt/slides/_rels/slide1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99.xml"/></Relationships>
</file>

<file path=ppt/slides/_rels/slide1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99.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tags" Target="../tags/tag3.xml"/><Relationship Id="rId1" Type="http://schemas.openxmlformats.org/officeDocument/2006/relationships/customXml" Target="../../customXml/item1.xml"/><Relationship Id="rId4" Type="http://schemas.openxmlformats.org/officeDocument/2006/relationships/notesSlide" Target="../notesSlides/notesSlide10.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tags" Target="../tags/tag4.xml"/><Relationship Id="rId1" Type="http://schemas.openxmlformats.org/officeDocument/2006/relationships/customXml" Target="../../customXml/item7.xml"/><Relationship Id="rId4" Type="http://schemas.openxmlformats.org/officeDocument/2006/relationships/notesSlide" Target="../notesSlides/notesSlide11.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tags" Target="../tags/tag5.xml"/><Relationship Id="rId1" Type="http://schemas.openxmlformats.org/officeDocument/2006/relationships/customXml" Target="../../customXml/item6.xml"/><Relationship Id="rId6" Type="http://schemas.openxmlformats.org/officeDocument/2006/relationships/hyperlink" Target="http://blog.reyjunco.com/academic-advising-social-media-and-student-engagement" TargetMode="External"/><Relationship Id="rId5" Type="http://schemas.openxmlformats.org/officeDocument/2006/relationships/image" Target="../media/image58.jpg"/><Relationship Id="rId4" Type="http://schemas.openxmlformats.org/officeDocument/2006/relationships/notesSlide" Target="../notesSlides/notesSlide1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tags" Target="../tags/tag6.xml"/><Relationship Id="rId1" Type="http://schemas.openxmlformats.org/officeDocument/2006/relationships/customXml" Target="../../customXml/item5.xml"/><Relationship Id="rId5" Type="http://schemas.openxmlformats.org/officeDocument/2006/relationships/image" Target="../media/image59.jpg"/><Relationship Id="rId4" Type="http://schemas.openxmlformats.org/officeDocument/2006/relationships/notesSlide" Target="../notesSlides/notesSlide13.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83.xml"/><Relationship Id="rId2" Type="http://schemas.openxmlformats.org/officeDocument/2006/relationships/tags" Target="../tags/tag7.xml"/><Relationship Id="rId1" Type="http://schemas.openxmlformats.org/officeDocument/2006/relationships/customXml" Target="../../customXml/item2.xml"/><Relationship Id="rId5" Type="http://schemas.openxmlformats.org/officeDocument/2006/relationships/image" Target="../media/image60.jpeg"/><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slideLayout" Target="../slideLayouts/slideLayout114.xml"/><Relationship Id="rId7" Type="http://schemas.openxmlformats.org/officeDocument/2006/relationships/diagramQuickStyle" Target="../diagrams/quickStyle1.xml"/><Relationship Id="rId2" Type="http://schemas.openxmlformats.org/officeDocument/2006/relationships/tags" Target="../tags/tag2.xml"/><Relationship Id="rId1" Type="http://schemas.openxmlformats.org/officeDocument/2006/relationships/customXml" Target="../../customXml/item4.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notesSlide" Target="../notesSlides/notesSlide2.xml"/><Relationship Id="rId9" Type="http://schemas.microsoft.com/office/2007/relationships/diagramDrawing" Target="../diagrams/drawing1.xml"/></Relationships>
</file>

<file path=ppt/slides/_rels/slide20.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5.xml"/><Relationship Id="rId1" Type="http://schemas.openxmlformats.org/officeDocument/2006/relationships/slideLayout" Target="../slideLayouts/slideLayout88.xml"/></Relationships>
</file>

<file path=ppt/slides/_rels/slide21.xml.rels><?xml version="1.0" encoding="UTF-8" standalone="yes"?>
<Relationships xmlns="http://schemas.openxmlformats.org/package/2006/relationships"><Relationship Id="rId3" Type="http://schemas.openxmlformats.org/officeDocument/2006/relationships/hyperlink" Target="https://www.onenote.com/learningtools" TargetMode="External"/><Relationship Id="rId2" Type="http://schemas.openxmlformats.org/officeDocument/2006/relationships/notesSlide" Target="../notesSlides/notesSlide16.xml"/><Relationship Id="rId1" Type="http://schemas.openxmlformats.org/officeDocument/2006/relationships/slideLayout" Target="../slideLayouts/slideLayout88.xml"/></Relationships>
</file>

<file path=ppt/slides/_rels/slide2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7.xml"/><Relationship Id="rId1" Type="http://schemas.openxmlformats.org/officeDocument/2006/relationships/slideLayout" Target="../slideLayouts/slideLayout88.xml"/><Relationship Id="rId4" Type="http://schemas.openxmlformats.org/officeDocument/2006/relationships/image" Target="../media/image63.png"/></Relationships>
</file>

<file path=ppt/slides/_rels/slide2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8.xml"/><Relationship Id="rId1" Type="http://schemas.openxmlformats.org/officeDocument/2006/relationships/slideLayout" Target="../slideLayouts/slideLayout83.xml"/><Relationship Id="rId5" Type="http://schemas.microsoft.com/office/2007/relationships/hdphoto" Target="../media/hdphoto1.wdp"/><Relationship Id="rId4" Type="http://schemas.openxmlformats.org/officeDocument/2006/relationships/image" Target="../media/image65.png"/></Relationships>
</file>

<file path=ppt/slides/_rels/slide3.xml.rels><?xml version="1.0" encoding="UTF-8" standalone="yes"?>
<Relationships xmlns="http://schemas.openxmlformats.org/package/2006/relationships"><Relationship Id="rId8" Type="http://schemas.openxmlformats.org/officeDocument/2006/relationships/image" Target="../media/image39.emf"/><Relationship Id="rId13" Type="http://schemas.openxmlformats.org/officeDocument/2006/relationships/image" Target="../media/image44.pn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3.png"/><Relationship Id="rId2" Type="http://schemas.openxmlformats.org/officeDocument/2006/relationships/notesSlide" Target="../notesSlides/notesSlide3.xml"/><Relationship Id="rId1" Type="http://schemas.openxmlformats.org/officeDocument/2006/relationships/slideLayout" Target="../slideLayouts/slideLayout52.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6.pn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emf"/></Relationships>
</file>

<file path=ppt/slides/_rels/slide4.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4.xml"/><Relationship Id="rId1" Type="http://schemas.openxmlformats.org/officeDocument/2006/relationships/slideLayout" Target="../slideLayouts/slideLayout99.xml"/><Relationship Id="rId5" Type="http://schemas.openxmlformats.org/officeDocument/2006/relationships/image" Target="../media/image47.jpg"/><Relationship Id="rId4" Type="http://schemas.openxmlformats.org/officeDocument/2006/relationships/image" Target="../media/image46.jpg"/></Relationships>
</file>

<file path=ppt/slides/_rels/slide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5.xml"/><Relationship Id="rId1" Type="http://schemas.openxmlformats.org/officeDocument/2006/relationships/slideLayout" Target="../slideLayouts/slideLayout83.xml"/><Relationship Id="rId5" Type="http://schemas.openxmlformats.org/officeDocument/2006/relationships/image" Target="../media/image51.png"/><Relationship Id="rId4" Type="http://schemas.openxmlformats.org/officeDocument/2006/relationships/customXml" Target="../ink/ink1.xml"/></Relationships>
</file>

<file path=ppt/slides/_rels/slide6.xml.rels><?xml version="1.0" encoding="UTF-8" standalone="yes"?>
<Relationships xmlns="http://schemas.openxmlformats.org/package/2006/relationships"><Relationship Id="rId3" Type="http://schemas.openxmlformats.org/officeDocument/2006/relationships/hyperlink" Target="http://www.aka.ms/blivMIE" TargetMode="External"/><Relationship Id="rId2" Type="http://schemas.openxmlformats.org/officeDocument/2006/relationships/notesSlide" Target="../notesSlides/notesSlide6.xml"/><Relationship Id="rId1" Type="http://schemas.openxmlformats.org/officeDocument/2006/relationships/slideLayout" Target="../slideLayouts/slideLayout8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8.xml"/></Relationships>
</file>

<file path=ppt/slides/_rels/slide8.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490.png"/><Relationship Id="rId18" Type="http://schemas.openxmlformats.org/officeDocument/2006/relationships/customXml" Target="../ink/ink5.xml"/><Relationship Id="rId3" Type="http://schemas.openxmlformats.org/officeDocument/2006/relationships/diagramData" Target="../diagrams/data2.xml"/><Relationship Id="rId21" Type="http://schemas.openxmlformats.org/officeDocument/2006/relationships/image" Target="../media/image530.png"/><Relationship Id="rId7" Type="http://schemas.microsoft.com/office/2007/relationships/diagramDrawing" Target="../diagrams/drawing2.xml"/><Relationship Id="rId12" Type="http://schemas.openxmlformats.org/officeDocument/2006/relationships/customXml" Target="../ink/ink2.xml"/><Relationship Id="rId17" Type="http://schemas.openxmlformats.org/officeDocument/2006/relationships/image" Target="../media/image510.png"/><Relationship Id="rId2" Type="http://schemas.openxmlformats.org/officeDocument/2006/relationships/notesSlide" Target="../notesSlides/notesSlide8.xml"/><Relationship Id="rId16" Type="http://schemas.openxmlformats.org/officeDocument/2006/relationships/customXml" Target="../ink/ink4.xml"/><Relationship Id="rId20" Type="http://schemas.openxmlformats.org/officeDocument/2006/relationships/customXml" Target="../ink/ink6.xml"/><Relationship Id="rId1" Type="http://schemas.openxmlformats.org/officeDocument/2006/relationships/slideLayout" Target="../slideLayouts/slideLayout69.xml"/><Relationship Id="rId6" Type="http://schemas.openxmlformats.org/officeDocument/2006/relationships/diagramColors" Target="../diagrams/colors2.xml"/><Relationship Id="rId11" Type="http://schemas.openxmlformats.org/officeDocument/2006/relationships/image" Target="../media/image53.png"/><Relationship Id="rId5" Type="http://schemas.openxmlformats.org/officeDocument/2006/relationships/diagramQuickStyle" Target="../diagrams/quickStyle2.xml"/><Relationship Id="rId15" Type="http://schemas.openxmlformats.org/officeDocument/2006/relationships/image" Target="../media/image500.png"/><Relationship Id="rId23" Type="http://schemas.openxmlformats.org/officeDocument/2006/relationships/image" Target="../media/image570.png"/><Relationship Id="rId10" Type="http://schemas.openxmlformats.org/officeDocument/2006/relationships/image" Target="../media/image52.png"/><Relationship Id="rId19" Type="http://schemas.openxmlformats.org/officeDocument/2006/relationships/image" Target="../media/image520.png"/><Relationship Id="rId4" Type="http://schemas.openxmlformats.org/officeDocument/2006/relationships/diagramLayout" Target="../diagrams/layout2.xml"/><Relationship Id="rId9" Type="http://schemas.openxmlformats.org/officeDocument/2006/relationships/image" Target="../media/image50.png"/><Relationship Id="rId14" Type="http://schemas.openxmlformats.org/officeDocument/2006/relationships/customXml" Target="../ink/ink3.xml"/><Relationship Id="rId22" Type="http://schemas.openxmlformats.org/officeDocument/2006/relationships/customXml" Target="../ink/ink7.xml"/></Relationships>
</file>

<file path=ppt/slides/_rels/slide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9.xml"/><Relationship Id="rId1" Type="http://schemas.openxmlformats.org/officeDocument/2006/relationships/slideLayout" Target="../slideLayouts/slideLayout6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53711" y="1256022"/>
            <a:ext cx="8557792" cy="5023491"/>
          </a:xfrm>
        </p:spPr>
        <p:txBody>
          <a:bodyPr/>
          <a:lstStyle/>
          <a:p>
            <a:r>
              <a:rPr lang="en-US" sz="6000" dirty="0"/>
              <a:t>Inspiration </a:t>
            </a:r>
            <a:r>
              <a:rPr lang="en-US" sz="6000" dirty="0" err="1"/>
              <a:t>til</a:t>
            </a:r>
            <a:r>
              <a:rPr lang="en-US" sz="6000" dirty="0"/>
              <a:t> den</a:t>
            </a:r>
            <a:br>
              <a:rPr lang="en-US" sz="6000" dirty="0"/>
            </a:br>
            <a:r>
              <a:rPr lang="en-US" sz="6000" dirty="0" err="1"/>
              <a:t>moderne</a:t>
            </a:r>
            <a:r>
              <a:rPr lang="en-US" sz="6000" dirty="0"/>
              <a:t> </a:t>
            </a:r>
            <a:r>
              <a:rPr lang="en-US" sz="6000" dirty="0" err="1"/>
              <a:t>skole</a:t>
            </a:r>
            <a:br>
              <a:rPr lang="en-US" sz="4800" dirty="0"/>
            </a:br>
            <a:br>
              <a:rPr lang="en-US" sz="4800" dirty="0"/>
            </a:br>
            <a:br>
              <a:rPr lang="en-US" sz="4800" dirty="0"/>
            </a:br>
            <a:r>
              <a:rPr lang="en-US" sz="3600" dirty="0"/>
              <a:t>International </a:t>
            </a:r>
            <a:r>
              <a:rPr lang="en-US" sz="3600" dirty="0" err="1"/>
              <a:t>økonomi</a:t>
            </a:r>
            <a:r>
              <a:rPr lang="en-US" sz="3600" dirty="0"/>
              <a:t> | 04.03.19</a:t>
            </a:r>
            <a:br>
              <a:rPr lang="en-US" sz="3600" dirty="0"/>
            </a:br>
            <a:r>
              <a:rPr lang="en-US" sz="3600" b="1" dirty="0"/>
              <a:t>Erik Carter </a:t>
            </a:r>
            <a:r>
              <a:rPr lang="en-US" sz="3600" dirty="0"/>
              <a:t>| </a:t>
            </a:r>
            <a:r>
              <a:rPr lang="en-US" sz="3600" dirty="0" err="1"/>
              <a:t>Læringskonsulent</a:t>
            </a:r>
            <a:endParaRPr lang="en-US" sz="3200" dirty="0"/>
          </a:p>
        </p:txBody>
      </p:sp>
    </p:spTree>
    <p:extLst>
      <p:ext uri="{BB962C8B-B14F-4D97-AF65-F5344CB8AC3E}">
        <p14:creationId xmlns:p14="http://schemas.microsoft.com/office/powerpoint/2010/main" val="1693381691"/>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8BD778-F796-4976-92CF-DBB7DD1A00D9}"/>
              </a:ext>
            </a:extLst>
          </p:cNvPr>
          <p:cNvSpPr>
            <a:spLocks noGrp="1"/>
          </p:cNvSpPr>
          <p:nvPr>
            <p:ph type="title"/>
          </p:nvPr>
        </p:nvSpPr>
        <p:spPr>
          <a:xfrm>
            <a:off x="44450" y="933450"/>
            <a:ext cx="12071537" cy="747897"/>
          </a:xfrm>
        </p:spPr>
        <p:txBody>
          <a:bodyPr/>
          <a:lstStyle/>
          <a:p>
            <a:pPr algn="ctr"/>
            <a:r>
              <a:rPr lang="da-DK" sz="6000" dirty="0"/>
              <a:t>4 slags Teams til alle slags samarbejde</a:t>
            </a:r>
          </a:p>
        </p:txBody>
      </p:sp>
      <p:pic>
        <p:nvPicPr>
          <p:cNvPr id="8" name="Billede 7">
            <a:extLst>
              <a:ext uri="{FF2B5EF4-FFF2-40B4-BE49-F238E27FC236}">
                <a16:creationId xmlns:a16="http://schemas.microsoft.com/office/drawing/2014/main" id="{030E0CE5-76FB-4C72-9F90-3D59D8620F05}"/>
              </a:ext>
            </a:extLst>
          </p:cNvPr>
          <p:cNvPicPr>
            <a:picLocks noChangeAspect="1"/>
          </p:cNvPicPr>
          <p:nvPr/>
        </p:nvPicPr>
        <p:blipFill>
          <a:blip r:embed="rId2"/>
          <a:stretch>
            <a:fillRect/>
          </a:stretch>
        </p:blipFill>
        <p:spPr>
          <a:xfrm>
            <a:off x="261937" y="2276475"/>
            <a:ext cx="11668125" cy="3557580"/>
          </a:xfrm>
          <a:prstGeom prst="rect">
            <a:avLst/>
          </a:prstGeom>
        </p:spPr>
      </p:pic>
    </p:spTree>
    <p:extLst>
      <p:ext uri="{BB962C8B-B14F-4D97-AF65-F5344CB8AC3E}">
        <p14:creationId xmlns:p14="http://schemas.microsoft.com/office/powerpoint/2010/main" val="45404285"/>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8BD778-F796-4976-92CF-DBB7DD1A00D9}"/>
              </a:ext>
            </a:extLst>
          </p:cNvPr>
          <p:cNvSpPr>
            <a:spLocks noGrp="1"/>
          </p:cNvSpPr>
          <p:nvPr>
            <p:ph type="title"/>
          </p:nvPr>
        </p:nvSpPr>
        <p:spPr>
          <a:xfrm>
            <a:off x="44450" y="933450"/>
            <a:ext cx="12071537" cy="747897"/>
          </a:xfrm>
        </p:spPr>
        <p:txBody>
          <a:bodyPr/>
          <a:lstStyle/>
          <a:p>
            <a:pPr algn="ctr"/>
            <a:r>
              <a:rPr lang="da-DK" sz="6000" dirty="0"/>
              <a:t>4 slags Teams til alle slags samarbejde</a:t>
            </a:r>
          </a:p>
        </p:txBody>
      </p:sp>
      <p:pic>
        <p:nvPicPr>
          <p:cNvPr id="5" name="Billede 4">
            <a:extLst>
              <a:ext uri="{FF2B5EF4-FFF2-40B4-BE49-F238E27FC236}">
                <a16:creationId xmlns:a16="http://schemas.microsoft.com/office/drawing/2014/main" id="{C65C31B8-EFF3-49CB-82FC-194CF7AF6DC5}"/>
              </a:ext>
            </a:extLst>
          </p:cNvPr>
          <p:cNvPicPr>
            <a:picLocks noChangeAspect="1"/>
          </p:cNvPicPr>
          <p:nvPr/>
        </p:nvPicPr>
        <p:blipFill rotWithShape="1">
          <a:blip r:embed="rId2"/>
          <a:srcRect l="2928" t="15886" r="73592" b="17941"/>
          <a:stretch/>
        </p:blipFill>
        <p:spPr>
          <a:xfrm>
            <a:off x="215900" y="2254250"/>
            <a:ext cx="2927350" cy="3632200"/>
          </a:xfrm>
          <a:prstGeom prst="rect">
            <a:avLst/>
          </a:prstGeom>
        </p:spPr>
      </p:pic>
      <p:sp>
        <p:nvSpPr>
          <p:cNvPr id="4" name="TextBox 5">
            <a:extLst>
              <a:ext uri="{FF2B5EF4-FFF2-40B4-BE49-F238E27FC236}">
                <a16:creationId xmlns:a16="http://schemas.microsoft.com/office/drawing/2014/main" id="{449C9C09-3A7B-4218-87A8-9F185E8140FE}"/>
              </a:ext>
            </a:extLst>
          </p:cNvPr>
          <p:cNvSpPr txBox="1"/>
          <p:nvPr/>
        </p:nvSpPr>
        <p:spPr>
          <a:xfrm>
            <a:off x="3294031" y="2152650"/>
            <a:ext cx="8275669" cy="4358076"/>
          </a:xfrm>
          <a:prstGeom prst="rect">
            <a:avLst/>
          </a:prstGeom>
          <a:noFill/>
        </p:spPr>
        <p:txBody>
          <a:bodyPr wrap="square" lIns="182854" tIns="146284" rIns="182854" bIns="14628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4000" b="1"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Om Hold-typen</a:t>
            </a: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32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En eller flere lærere er ‘ejere’</a:t>
            </a: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3200" dirty="0">
                <a:solidFill>
                  <a:srgbClr val="505050"/>
                </a:solidFill>
                <a:latin typeface="Segoe UI Light" panose="020B0502040204020203" pitchFamily="34" charset="0"/>
                <a:cs typeface="Segoe UI Light" panose="020B0502040204020203" pitchFamily="34" charset="0"/>
              </a:rPr>
              <a:t>Elever er ‘medlemmer’ – lærer kan styre, fx </a:t>
            </a:r>
            <a:r>
              <a:rPr lang="da-DK" sz="3200" dirty="0" err="1">
                <a:solidFill>
                  <a:srgbClr val="505050"/>
                </a:solidFill>
                <a:latin typeface="Segoe UI Light" panose="020B0502040204020203" pitchFamily="34" charset="0"/>
                <a:cs typeface="Segoe UI Light" panose="020B0502040204020203" pitchFamily="34" charset="0"/>
              </a:rPr>
              <a:t>mute</a:t>
            </a:r>
            <a:r>
              <a:rPr lang="da-DK" sz="3200" dirty="0">
                <a:solidFill>
                  <a:srgbClr val="505050"/>
                </a:solidFill>
                <a:latin typeface="Segoe UI Light" panose="020B0502040204020203" pitchFamily="34" charset="0"/>
                <a:cs typeface="Segoe UI Light" panose="020B0502040204020203" pitchFamily="34" charset="0"/>
              </a:rPr>
              <a:t> elever og sætte begrænsninger</a:t>
            </a: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3200" dirty="0">
                <a:solidFill>
                  <a:srgbClr val="505050"/>
                </a:solidFill>
                <a:latin typeface="Segoe UI Light" panose="020B0502040204020203" pitchFamily="34" charset="0"/>
                <a:cs typeface="Segoe UI Light" panose="020B0502040204020203" pitchFamily="34" charset="0"/>
              </a:rPr>
              <a:t>Samtaler til kommunikation, fildeling </a:t>
            </a:r>
            <a:r>
              <a:rPr lang="da-DK" sz="3200" b="1" dirty="0">
                <a:solidFill>
                  <a:srgbClr val="505050"/>
                </a:solidFill>
                <a:latin typeface="Segoe UI Light" panose="020B0502040204020203" pitchFamily="34" charset="0"/>
                <a:cs typeface="Segoe UI Light" panose="020B0502040204020203" pitchFamily="34" charset="0"/>
              </a:rPr>
              <a:t>samt Klassenotesbog og Opgave-modul</a:t>
            </a: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320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Kan auto-oprette</a:t>
            </a:r>
            <a:r>
              <a:rPr lang="da-DK" sz="3200" dirty="0">
                <a:solidFill>
                  <a:srgbClr val="505050"/>
                </a:solidFill>
                <a:latin typeface="Segoe UI Light" panose="020B0502040204020203" pitchFamily="34" charset="0"/>
                <a:cs typeface="Segoe UI Light" panose="020B0502040204020203" pitchFamily="34" charset="0"/>
              </a:rPr>
              <a:t>s med udgangspunkt i SIS</a:t>
            </a:r>
            <a:endParaRPr kumimoji="0" lang="da-DK" sz="320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a-DK" sz="32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245351949"/>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8BD778-F796-4976-92CF-DBB7DD1A00D9}"/>
              </a:ext>
            </a:extLst>
          </p:cNvPr>
          <p:cNvSpPr>
            <a:spLocks noGrp="1"/>
          </p:cNvSpPr>
          <p:nvPr>
            <p:ph type="title"/>
          </p:nvPr>
        </p:nvSpPr>
        <p:spPr>
          <a:xfrm>
            <a:off x="44450" y="933450"/>
            <a:ext cx="12071537" cy="747897"/>
          </a:xfrm>
        </p:spPr>
        <p:txBody>
          <a:bodyPr/>
          <a:lstStyle/>
          <a:p>
            <a:pPr algn="ctr"/>
            <a:r>
              <a:rPr lang="da-DK" sz="6000" dirty="0"/>
              <a:t>4 slags Teams til alle slags samarbejde</a:t>
            </a:r>
          </a:p>
        </p:txBody>
      </p:sp>
      <p:sp>
        <p:nvSpPr>
          <p:cNvPr id="4" name="TextBox 5">
            <a:extLst>
              <a:ext uri="{FF2B5EF4-FFF2-40B4-BE49-F238E27FC236}">
                <a16:creationId xmlns:a16="http://schemas.microsoft.com/office/drawing/2014/main" id="{449C9C09-3A7B-4218-87A8-9F185E8140FE}"/>
              </a:ext>
            </a:extLst>
          </p:cNvPr>
          <p:cNvSpPr txBox="1"/>
          <p:nvPr/>
        </p:nvSpPr>
        <p:spPr>
          <a:xfrm>
            <a:off x="3294031" y="2152650"/>
            <a:ext cx="8663019" cy="3373191"/>
          </a:xfrm>
          <a:prstGeom prst="rect">
            <a:avLst/>
          </a:prstGeom>
          <a:noFill/>
        </p:spPr>
        <p:txBody>
          <a:bodyPr wrap="square" lIns="182854" tIns="146284" rIns="182854" bIns="14628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4000" b="1"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Om PLC-typen</a:t>
            </a: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32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Oprettes til faggrupper</a:t>
            </a: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3200" dirty="0">
                <a:solidFill>
                  <a:srgbClr val="505050"/>
                </a:solidFill>
                <a:latin typeface="Segoe UI Light" panose="020B0502040204020203" pitchFamily="34" charset="0"/>
                <a:cs typeface="Segoe UI Light" panose="020B0502040204020203" pitchFamily="34" charset="0"/>
              </a:rPr>
              <a:t>Alle lærere er i princippet ligestillede</a:t>
            </a: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3200" dirty="0">
                <a:solidFill>
                  <a:srgbClr val="505050"/>
                </a:solidFill>
                <a:latin typeface="Segoe UI Light" panose="020B0502040204020203" pitchFamily="34" charset="0"/>
                <a:cs typeface="Segoe UI Light" panose="020B0502040204020203" pitchFamily="34" charset="0"/>
              </a:rPr>
              <a:t>Samtaler til kommunikation, fildeling </a:t>
            </a:r>
            <a:r>
              <a:rPr lang="da-DK" sz="3200" b="1" dirty="0">
                <a:solidFill>
                  <a:srgbClr val="505050"/>
                </a:solidFill>
                <a:latin typeface="Segoe UI Light" panose="020B0502040204020203" pitchFamily="34" charset="0"/>
                <a:cs typeface="Segoe UI Light" panose="020B0502040204020203" pitchFamily="34" charset="0"/>
              </a:rPr>
              <a:t>samt OneNote-notesbog til møder &amp; vidensdeling</a:t>
            </a:r>
            <a:endParaRPr kumimoji="0" lang="da-DK" sz="3200" b="1"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32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Oprettes typisk af lærerne selv, fx fagudvalg</a:t>
            </a:r>
          </a:p>
        </p:txBody>
      </p:sp>
      <p:pic>
        <p:nvPicPr>
          <p:cNvPr id="6" name="Billede 5">
            <a:extLst>
              <a:ext uri="{FF2B5EF4-FFF2-40B4-BE49-F238E27FC236}">
                <a16:creationId xmlns:a16="http://schemas.microsoft.com/office/drawing/2014/main" id="{46BA2E38-3654-4E41-B236-116C47EA836B}"/>
              </a:ext>
            </a:extLst>
          </p:cNvPr>
          <p:cNvPicPr>
            <a:picLocks noChangeAspect="1"/>
          </p:cNvPicPr>
          <p:nvPr/>
        </p:nvPicPr>
        <p:blipFill rotWithShape="1">
          <a:blip r:embed="rId2"/>
          <a:srcRect l="26356" t="16117" r="49909" b="17941"/>
          <a:stretch/>
        </p:blipFill>
        <p:spPr>
          <a:xfrm>
            <a:off x="334931" y="2305050"/>
            <a:ext cx="2959100" cy="3619500"/>
          </a:xfrm>
          <a:prstGeom prst="rect">
            <a:avLst/>
          </a:prstGeom>
        </p:spPr>
      </p:pic>
    </p:spTree>
    <p:extLst>
      <p:ext uri="{BB962C8B-B14F-4D97-AF65-F5344CB8AC3E}">
        <p14:creationId xmlns:p14="http://schemas.microsoft.com/office/powerpoint/2010/main" val="1350105773"/>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8BD778-F796-4976-92CF-DBB7DD1A00D9}"/>
              </a:ext>
            </a:extLst>
          </p:cNvPr>
          <p:cNvSpPr>
            <a:spLocks noGrp="1"/>
          </p:cNvSpPr>
          <p:nvPr>
            <p:ph type="title"/>
          </p:nvPr>
        </p:nvSpPr>
        <p:spPr>
          <a:xfrm>
            <a:off x="44450" y="933450"/>
            <a:ext cx="12071537" cy="747897"/>
          </a:xfrm>
        </p:spPr>
        <p:txBody>
          <a:bodyPr/>
          <a:lstStyle/>
          <a:p>
            <a:pPr algn="ctr"/>
            <a:r>
              <a:rPr lang="da-DK" sz="6000" dirty="0"/>
              <a:t>4 slags Teams til alle slags samarbejde</a:t>
            </a:r>
          </a:p>
        </p:txBody>
      </p:sp>
      <p:sp>
        <p:nvSpPr>
          <p:cNvPr id="4" name="TextBox 5">
            <a:extLst>
              <a:ext uri="{FF2B5EF4-FFF2-40B4-BE49-F238E27FC236}">
                <a16:creationId xmlns:a16="http://schemas.microsoft.com/office/drawing/2014/main" id="{449C9C09-3A7B-4218-87A8-9F185E8140FE}"/>
              </a:ext>
            </a:extLst>
          </p:cNvPr>
          <p:cNvSpPr txBox="1"/>
          <p:nvPr/>
        </p:nvSpPr>
        <p:spPr>
          <a:xfrm>
            <a:off x="3294031" y="2152650"/>
            <a:ext cx="8663019" cy="3865633"/>
          </a:xfrm>
          <a:prstGeom prst="rect">
            <a:avLst/>
          </a:prstGeom>
          <a:noFill/>
        </p:spPr>
        <p:txBody>
          <a:bodyPr wrap="square" lIns="182854" tIns="146284" rIns="182854" bIns="14628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4000" b="1"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Om Medarbejder-typen</a:t>
            </a: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32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Oprettes til ledelsens arbejde</a:t>
            </a: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3200" dirty="0">
                <a:solidFill>
                  <a:srgbClr val="505050"/>
                </a:solidFill>
                <a:latin typeface="Segoe UI Light" panose="020B0502040204020203" pitchFamily="34" charset="0"/>
                <a:cs typeface="Segoe UI Light" panose="020B0502040204020203" pitchFamily="34" charset="0"/>
              </a:rPr>
              <a:t>Lederen er ‘ejer’, dvs. har særrettigheder</a:t>
            </a: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320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Ansatte er ‘medlemmer’: </a:t>
            </a:r>
            <a:r>
              <a:rPr lang="da-DK" sz="3200" dirty="0">
                <a:solidFill>
                  <a:srgbClr val="505050"/>
                </a:solidFill>
                <a:latin typeface="Segoe UI Light" panose="020B0502040204020203" pitchFamily="34" charset="0"/>
                <a:cs typeface="Segoe UI Light" panose="020B0502040204020203" pitchFamily="34" charset="0"/>
              </a:rPr>
              <a:t>dele af notesbogen er skrivebeskyttet og rettigheder kan styres</a:t>
            </a:r>
            <a:endParaRPr kumimoji="0" lang="da-DK" sz="320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32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Oprettes af ledelsen, når der skal deles viden som er skrivebeskyttet – fx manualer o.l.</a:t>
            </a:r>
          </a:p>
        </p:txBody>
      </p:sp>
      <p:pic>
        <p:nvPicPr>
          <p:cNvPr id="5" name="Billede 4">
            <a:extLst>
              <a:ext uri="{FF2B5EF4-FFF2-40B4-BE49-F238E27FC236}">
                <a16:creationId xmlns:a16="http://schemas.microsoft.com/office/drawing/2014/main" id="{2E1DA6DE-4CCF-42A1-9F8F-E3E70D972381}"/>
              </a:ext>
            </a:extLst>
          </p:cNvPr>
          <p:cNvPicPr>
            <a:picLocks noChangeAspect="1"/>
          </p:cNvPicPr>
          <p:nvPr/>
        </p:nvPicPr>
        <p:blipFill rotWithShape="1">
          <a:blip r:embed="rId2"/>
          <a:srcRect l="50092" t="14035" r="26225" b="17941"/>
          <a:stretch/>
        </p:blipFill>
        <p:spPr>
          <a:xfrm>
            <a:off x="341280" y="2152650"/>
            <a:ext cx="2952751" cy="3733800"/>
          </a:xfrm>
          <a:prstGeom prst="rect">
            <a:avLst/>
          </a:prstGeom>
        </p:spPr>
      </p:pic>
    </p:spTree>
    <p:extLst>
      <p:ext uri="{BB962C8B-B14F-4D97-AF65-F5344CB8AC3E}">
        <p14:creationId xmlns:p14="http://schemas.microsoft.com/office/powerpoint/2010/main" val="621390751"/>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8BD778-F796-4976-92CF-DBB7DD1A00D9}"/>
              </a:ext>
            </a:extLst>
          </p:cNvPr>
          <p:cNvSpPr>
            <a:spLocks noGrp="1"/>
          </p:cNvSpPr>
          <p:nvPr>
            <p:ph type="title"/>
          </p:nvPr>
        </p:nvSpPr>
        <p:spPr>
          <a:xfrm>
            <a:off x="44450" y="933450"/>
            <a:ext cx="12071537" cy="747897"/>
          </a:xfrm>
        </p:spPr>
        <p:txBody>
          <a:bodyPr/>
          <a:lstStyle/>
          <a:p>
            <a:pPr algn="ctr"/>
            <a:r>
              <a:rPr lang="da-DK" sz="6000" dirty="0"/>
              <a:t>4 slags Teams til alle slags samarbejde</a:t>
            </a:r>
          </a:p>
        </p:txBody>
      </p:sp>
      <p:sp>
        <p:nvSpPr>
          <p:cNvPr id="4" name="TextBox 5">
            <a:extLst>
              <a:ext uri="{FF2B5EF4-FFF2-40B4-BE49-F238E27FC236}">
                <a16:creationId xmlns:a16="http://schemas.microsoft.com/office/drawing/2014/main" id="{449C9C09-3A7B-4218-87A8-9F185E8140FE}"/>
              </a:ext>
            </a:extLst>
          </p:cNvPr>
          <p:cNvSpPr txBox="1"/>
          <p:nvPr/>
        </p:nvSpPr>
        <p:spPr>
          <a:xfrm>
            <a:off x="3294031" y="2152650"/>
            <a:ext cx="8663019" cy="3373191"/>
          </a:xfrm>
          <a:prstGeom prst="rect">
            <a:avLst/>
          </a:prstGeom>
          <a:noFill/>
        </p:spPr>
        <p:txBody>
          <a:bodyPr wrap="square" lIns="182854" tIns="146284" rIns="182854" bIns="14628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4000" b="1"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Om Alle-typen</a:t>
            </a: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32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Oprettes ad-hoc af elever og lærere</a:t>
            </a: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3200" dirty="0">
                <a:solidFill>
                  <a:srgbClr val="505050"/>
                </a:solidFill>
                <a:latin typeface="Segoe UI Light" panose="020B0502040204020203" pitchFamily="34" charset="0"/>
                <a:cs typeface="Segoe UI Light" panose="020B0502040204020203" pitchFamily="34" charset="0"/>
              </a:rPr>
              <a:t>Til ligeværdigt samarbejde</a:t>
            </a:r>
            <a:endParaRPr kumimoji="0" lang="da-DK" sz="32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endParaRP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3200" dirty="0">
                <a:solidFill>
                  <a:srgbClr val="505050"/>
                </a:solidFill>
                <a:latin typeface="Segoe UI Light" panose="020B0502040204020203" pitchFamily="34" charset="0"/>
                <a:cs typeface="Segoe UI Light" panose="020B0502040204020203" pitchFamily="34" charset="0"/>
              </a:rPr>
              <a:t>Kan være til længere og kortere samarbejde – fx ‘Alle ansatte’, ‘1.g-elever’, ‘Projektopgave’</a:t>
            </a:r>
          </a:p>
          <a:p>
            <a:pPr marL="571500" marR="0" lvl="0"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3200" b="0" i="0" u="none" strike="noStrike" kern="1200" cap="none" spc="0" normalizeH="0" baseline="0" noProof="0" dirty="0">
                <a:ln>
                  <a:noFill/>
                </a:ln>
                <a:solidFill>
                  <a:srgbClr val="505050"/>
                </a:solidFill>
                <a:effectLst/>
                <a:uLnTx/>
                <a:uFillTx/>
                <a:latin typeface="Segoe UI Light" panose="020B0502040204020203" pitchFamily="34" charset="0"/>
                <a:ea typeface="+mn-ea"/>
                <a:cs typeface="Segoe UI Light" panose="020B0502040204020203" pitchFamily="34" charset="0"/>
              </a:rPr>
              <a:t>Har samtaler og filbibliotek som standard</a:t>
            </a:r>
          </a:p>
        </p:txBody>
      </p:sp>
      <p:pic>
        <p:nvPicPr>
          <p:cNvPr id="6" name="Billede 5">
            <a:extLst>
              <a:ext uri="{FF2B5EF4-FFF2-40B4-BE49-F238E27FC236}">
                <a16:creationId xmlns:a16="http://schemas.microsoft.com/office/drawing/2014/main" id="{3CD3CD3F-0DEC-449E-93A2-DF87CB4ADB02}"/>
              </a:ext>
            </a:extLst>
          </p:cNvPr>
          <p:cNvPicPr>
            <a:picLocks noChangeAspect="1"/>
          </p:cNvPicPr>
          <p:nvPr/>
        </p:nvPicPr>
        <p:blipFill rotWithShape="1">
          <a:blip r:embed="rId2"/>
          <a:srcRect l="75434"/>
          <a:stretch/>
        </p:blipFill>
        <p:spPr>
          <a:xfrm>
            <a:off x="331756" y="2152650"/>
            <a:ext cx="2962275" cy="3705225"/>
          </a:xfrm>
          <a:prstGeom prst="rect">
            <a:avLst/>
          </a:prstGeom>
        </p:spPr>
      </p:pic>
    </p:spTree>
    <p:extLst>
      <p:ext uri="{BB962C8B-B14F-4D97-AF65-F5344CB8AC3E}">
        <p14:creationId xmlns:p14="http://schemas.microsoft.com/office/powerpoint/2010/main" val="2278843023"/>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678684" y="3910874"/>
            <a:ext cx="11052529" cy="1960365"/>
          </a:xfrm>
        </p:spPr>
        <p:txBody>
          <a:bodyPr>
            <a:normAutofit fontScale="90000"/>
          </a:bodyPr>
          <a:lstStyle/>
          <a:p>
            <a:pPr algn="l"/>
            <a:r>
              <a:rPr lang="da-DK" sz="6600" b="1" dirty="0">
                <a:latin typeface="Segoe UI Light" panose="020B0502040204020203" pitchFamily="34" charset="0"/>
                <a:cs typeface="Segoe UI Light" panose="020B0502040204020203" pitchFamily="34" charset="0"/>
              </a:rPr>
              <a:t>Refleksion</a:t>
            </a:r>
            <a:br>
              <a:rPr lang="da-DK" dirty="0">
                <a:latin typeface="Segoe UI Light" panose="020B0502040204020203" pitchFamily="34" charset="0"/>
                <a:cs typeface="Segoe UI Light" panose="020B0502040204020203" pitchFamily="34" charset="0"/>
              </a:rPr>
            </a:br>
            <a:br>
              <a:rPr lang="da-DK" dirty="0">
                <a:solidFill>
                  <a:schemeClr val="tx1">
                    <a:lumMod val="85000"/>
                    <a:lumOff val="15000"/>
                  </a:schemeClr>
                </a:solidFill>
                <a:latin typeface="Segoe UI Light" panose="020B0502040204020203" pitchFamily="34" charset="0"/>
                <a:cs typeface="Segoe UI Light" panose="020B0502040204020203" pitchFamily="34" charset="0"/>
              </a:rPr>
            </a:br>
            <a:r>
              <a:rPr lang="da-DK" sz="4900" dirty="0">
                <a:solidFill>
                  <a:schemeClr val="tx1">
                    <a:lumMod val="85000"/>
                    <a:lumOff val="15000"/>
                  </a:schemeClr>
                </a:solidFill>
                <a:latin typeface="Segoe UI Light" panose="020B0502040204020203" pitchFamily="34" charset="0"/>
                <a:cs typeface="Segoe UI Light" panose="020B0502040204020203" pitchFamily="34" charset="0"/>
              </a:rPr>
              <a:t>Hvor kan Teams give mening for jeres lærere?</a:t>
            </a:r>
            <a:br>
              <a:rPr lang="da-DK" sz="4900" dirty="0">
                <a:solidFill>
                  <a:schemeClr val="tx1">
                    <a:lumMod val="85000"/>
                    <a:lumOff val="15000"/>
                  </a:schemeClr>
                </a:solidFill>
                <a:latin typeface="Segoe UI Light" panose="020B0502040204020203" pitchFamily="34" charset="0"/>
                <a:cs typeface="Segoe UI Light" panose="020B0502040204020203" pitchFamily="34" charset="0"/>
              </a:rPr>
            </a:br>
            <a:br>
              <a:rPr lang="da-DK" sz="4900" dirty="0">
                <a:solidFill>
                  <a:schemeClr val="tx1">
                    <a:lumMod val="85000"/>
                    <a:lumOff val="15000"/>
                  </a:schemeClr>
                </a:solidFill>
                <a:latin typeface="Segoe UI Light" panose="020B0502040204020203" pitchFamily="34" charset="0"/>
                <a:cs typeface="Segoe UI Light" panose="020B0502040204020203" pitchFamily="34" charset="0"/>
              </a:rPr>
            </a:br>
            <a:r>
              <a:rPr lang="da-DK" sz="4900" dirty="0">
                <a:solidFill>
                  <a:schemeClr val="tx1">
                    <a:lumMod val="85000"/>
                    <a:lumOff val="15000"/>
                  </a:schemeClr>
                </a:solidFill>
                <a:latin typeface="Segoe UI Light" panose="020B0502040204020203" pitchFamily="34" charset="0"/>
                <a:cs typeface="Segoe UI Light" panose="020B0502040204020203" pitchFamily="34" charset="0"/>
              </a:rPr>
              <a:t>Hvor kan Teams give mening for jeres elever?</a:t>
            </a:r>
            <a:br>
              <a:rPr lang="da-DK" dirty="0">
                <a:solidFill>
                  <a:schemeClr val="tx1">
                    <a:lumMod val="85000"/>
                    <a:lumOff val="15000"/>
                  </a:schemeClr>
                </a:solidFill>
                <a:latin typeface="Segoe UI Light" panose="020B0502040204020203" pitchFamily="34" charset="0"/>
                <a:cs typeface="Segoe UI Light" panose="020B0502040204020203" pitchFamily="34" charset="0"/>
              </a:rPr>
            </a:br>
            <a:endParaRPr lang="da-DK" dirty="0">
              <a:solidFill>
                <a:schemeClr val="tx1">
                  <a:lumMod val="85000"/>
                  <a:lumOff val="15000"/>
                </a:schemeClr>
              </a:solidFill>
              <a:latin typeface="Segoe UI Light" panose="020B0502040204020203" pitchFamily="34" charset="0"/>
              <a:cs typeface="Segoe UI Light" panose="020B0502040204020203" pitchFamily="34" charset="0"/>
            </a:endParaRPr>
          </a:p>
        </p:txBody>
      </p:sp>
    </p:spTree>
    <p:custDataLst>
      <p:custData r:id="rId1"/>
      <p:tags r:id="rId2"/>
    </p:custDataLst>
    <p:extLst>
      <p:ext uri="{BB962C8B-B14F-4D97-AF65-F5344CB8AC3E}">
        <p14:creationId xmlns:p14="http://schemas.microsoft.com/office/powerpoint/2010/main" val="4184203997"/>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999771" y="3771271"/>
            <a:ext cx="11052529" cy="1960365"/>
          </a:xfrm>
        </p:spPr>
        <p:txBody>
          <a:bodyPr>
            <a:normAutofit fontScale="90000"/>
          </a:bodyPr>
          <a:lstStyle/>
          <a:p>
            <a:pPr algn="l"/>
            <a:r>
              <a:rPr lang="da-DK" sz="6600" b="1" dirty="0">
                <a:latin typeface="Segoe UI Light" panose="020B0502040204020203" pitchFamily="34" charset="0"/>
                <a:cs typeface="Segoe UI Light" panose="020B0502040204020203" pitchFamily="34" charset="0"/>
              </a:rPr>
              <a:t>3 konkrete Teams-scenarier</a:t>
            </a:r>
            <a:br>
              <a:rPr lang="da-DK" dirty="0">
                <a:latin typeface="Segoe UI Light" panose="020B0502040204020203" pitchFamily="34" charset="0"/>
                <a:cs typeface="Segoe UI Light" panose="020B0502040204020203" pitchFamily="34" charset="0"/>
              </a:rPr>
            </a:br>
            <a:br>
              <a:rPr lang="da-DK" dirty="0">
                <a:solidFill>
                  <a:schemeClr val="tx1">
                    <a:lumMod val="85000"/>
                    <a:lumOff val="15000"/>
                  </a:schemeClr>
                </a:solidFill>
                <a:latin typeface="Segoe UI Light" panose="020B0502040204020203" pitchFamily="34" charset="0"/>
                <a:cs typeface="Segoe UI Light" panose="020B0502040204020203" pitchFamily="34" charset="0"/>
              </a:rPr>
            </a:br>
            <a:r>
              <a:rPr lang="da-DK" dirty="0">
                <a:solidFill>
                  <a:schemeClr val="tx1">
                    <a:lumMod val="85000"/>
                    <a:lumOff val="15000"/>
                  </a:schemeClr>
                </a:solidFill>
                <a:latin typeface="Segoe UI Light" panose="020B0502040204020203" pitchFamily="34" charset="0"/>
                <a:cs typeface="Segoe UI Light" panose="020B0502040204020203" pitchFamily="34" charset="0"/>
              </a:rPr>
              <a:t>1) Projektopgave for elever</a:t>
            </a:r>
            <a:br>
              <a:rPr lang="da-DK" dirty="0">
                <a:solidFill>
                  <a:schemeClr val="tx1">
                    <a:lumMod val="85000"/>
                    <a:lumOff val="15000"/>
                  </a:schemeClr>
                </a:solidFill>
                <a:latin typeface="Segoe UI Light" panose="020B0502040204020203" pitchFamily="34" charset="0"/>
                <a:cs typeface="Segoe UI Light" panose="020B0502040204020203" pitchFamily="34" charset="0"/>
              </a:rPr>
            </a:br>
            <a:r>
              <a:rPr lang="da-DK" dirty="0">
                <a:solidFill>
                  <a:schemeClr val="tx1">
                    <a:lumMod val="85000"/>
                    <a:lumOff val="15000"/>
                  </a:schemeClr>
                </a:solidFill>
                <a:latin typeface="Segoe UI Light" panose="020B0502040204020203" pitchFamily="34" charset="0"/>
                <a:cs typeface="Segoe UI Light" panose="020B0502040204020203" pitchFamily="34" charset="0"/>
              </a:rPr>
              <a:t>2) Samarbejde i en faggruppe</a:t>
            </a:r>
            <a:br>
              <a:rPr lang="da-DK" dirty="0">
                <a:solidFill>
                  <a:schemeClr val="tx1">
                    <a:lumMod val="85000"/>
                    <a:lumOff val="15000"/>
                  </a:schemeClr>
                </a:solidFill>
                <a:latin typeface="Segoe UI Light" panose="020B0502040204020203" pitchFamily="34" charset="0"/>
                <a:cs typeface="Segoe UI Light" panose="020B0502040204020203" pitchFamily="34" charset="0"/>
              </a:rPr>
            </a:br>
            <a:r>
              <a:rPr lang="da-DK" dirty="0">
                <a:solidFill>
                  <a:schemeClr val="tx1">
                    <a:lumMod val="85000"/>
                    <a:lumOff val="15000"/>
                  </a:schemeClr>
                </a:solidFill>
                <a:latin typeface="Segoe UI Light" panose="020B0502040204020203" pitchFamily="34" charset="0"/>
                <a:cs typeface="Segoe UI Light" panose="020B0502040204020203" pitchFamily="34" charset="0"/>
              </a:rPr>
              <a:t>3) Kommunikation med eleverne</a:t>
            </a:r>
          </a:p>
        </p:txBody>
      </p:sp>
    </p:spTree>
    <p:custDataLst>
      <p:custData r:id="rId1"/>
      <p:tags r:id="rId2"/>
    </p:custDataLst>
    <p:extLst>
      <p:ext uri="{BB962C8B-B14F-4D97-AF65-F5344CB8AC3E}">
        <p14:creationId xmlns:p14="http://schemas.microsoft.com/office/powerpoint/2010/main" val="2351628370"/>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193321" y="69221"/>
            <a:ext cx="11052529" cy="1232529"/>
          </a:xfrm>
        </p:spPr>
        <p:txBody>
          <a:bodyPr>
            <a:normAutofit/>
          </a:bodyPr>
          <a:lstStyle/>
          <a:p>
            <a:pPr algn="l"/>
            <a:r>
              <a:rPr lang="da-DK" sz="6600" b="1" dirty="0">
                <a:solidFill>
                  <a:schemeClr val="tx1">
                    <a:lumMod val="85000"/>
                    <a:lumOff val="15000"/>
                  </a:schemeClr>
                </a:solidFill>
                <a:latin typeface="Segoe UI Light" panose="020B0502040204020203" pitchFamily="34" charset="0"/>
                <a:cs typeface="Segoe UI Light" panose="020B0502040204020203" pitchFamily="34" charset="0"/>
              </a:rPr>
              <a:t>1) Projektopgave for elever</a:t>
            </a:r>
            <a:endParaRPr lang="da-DK" dirty="0">
              <a:solidFill>
                <a:schemeClr val="tx1">
                  <a:lumMod val="85000"/>
                  <a:lumOff val="15000"/>
                </a:schemeClr>
              </a:solidFill>
              <a:latin typeface="Segoe UI Light" panose="020B0502040204020203" pitchFamily="34" charset="0"/>
              <a:cs typeface="Segoe UI Light" panose="020B0502040204020203" pitchFamily="34" charset="0"/>
            </a:endParaRPr>
          </a:p>
        </p:txBody>
      </p:sp>
      <p:sp>
        <p:nvSpPr>
          <p:cNvPr id="4" name="Titel 1">
            <a:extLst>
              <a:ext uri="{FF2B5EF4-FFF2-40B4-BE49-F238E27FC236}">
                <a16:creationId xmlns:a16="http://schemas.microsoft.com/office/drawing/2014/main" id="{6D86234D-112D-4DDF-B033-D2900747017E}"/>
              </a:ext>
            </a:extLst>
          </p:cNvPr>
          <p:cNvSpPr txBox="1">
            <a:spLocks/>
          </p:cNvSpPr>
          <p:nvPr/>
        </p:nvSpPr>
        <p:spPr>
          <a:xfrm>
            <a:off x="371121" y="2958156"/>
            <a:ext cx="10311009" cy="370902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742950" indent="-742950" algn="l">
              <a:buAutoNum type="alphaLcParenR"/>
            </a:pPr>
            <a:r>
              <a:rPr lang="da-DK" sz="2600" dirty="0">
                <a:solidFill>
                  <a:schemeClr val="tx1">
                    <a:lumMod val="85000"/>
                    <a:lumOff val="15000"/>
                  </a:schemeClr>
                </a:solidFill>
                <a:latin typeface="Segoe UI Light" panose="020B0502040204020203" pitchFamily="34" charset="0"/>
                <a:cs typeface="Segoe UI Light" panose="020B0502040204020203" pitchFamily="34" charset="0"/>
              </a:rPr>
              <a:t>Eleverne bliver inddelt i en gruppe. Herefter opretter hver gruppe deres eget team.</a:t>
            </a:r>
          </a:p>
          <a:p>
            <a:pPr marL="742950" indent="-742950" algn="l">
              <a:buAutoNum type="alphaLcParenR"/>
            </a:pPr>
            <a:r>
              <a:rPr lang="da-DK" sz="2600" dirty="0">
                <a:solidFill>
                  <a:schemeClr val="tx1">
                    <a:lumMod val="85000"/>
                    <a:lumOff val="15000"/>
                  </a:schemeClr>
                </a:solidFill>
                <a:latin typeface="Segoe UI Light" panose="020B0502040204020203" pitchFamily="34" charset="0"/>
                <a:cs typeface="Segoe UI Light" panose="020B0502040204020203" pitchFamily="34" charset="0"/>
              </a:rPr>
              <a:t>Eleverne kommunikerer om projektet via Teams – de tagger hinanden, så de andre kan se at de fx arbejder om aftenen. De bruger også chat-funktionen til både opkald og videoopkald, når de ikke sidder sammen.</a:t>
            </a:r>
          </a:p>
          <a:p>
            <a:pPr marL="742950" indent="-742950" algn="l">
              <a:buFontTx/>
              <a:buAutoNum type="alphaLcParenR"/>
            </a:pPr>
            <a:r>
              <a:rPr lang="da-DK" sz="2600" dirty="0">
                <a:solidFill>
                  <a:schemeClr val="tx1">
                    <a:lumMod val="85000"/>
                    <a:lumOff val="15000"/>
                  </a:schemeClr>
                </a:solidFill>
                <a:latin typeface="Segoe UI Light" panose="020B0502040204020203" pitchFamily="34" charset="0"/>
                <a:cs typeface="Segoe UI Light" panose="020B0502040204020203" pitchFamily="34" charset="0"/>
              </a:rPr>
              <a:t>‘</a:t>
            </a:r>
            <a:r>
              <a:rPr lang="da-DK" sz="2600" dirty="0" err="1">
                <a:solidFill>
                  <a:schemeClr val="tx1">
                    <a:lumMod val="85000"/>
                    <a:lumOff val="15000"/>
                  </a:schemeClr>
                </a:solidFill>
                <a:latin typeface="Segoe UI Light" panose="020B0502040204020203" pitchFamily="34" charset="0"/>
                <a:cs typeface="Segoe UI Light" panose="020B0502040204020203" pitchFamily="34" charset="0"/>
              </a:rPr>
              <a:t>Back-stage</a:t>
            </a:r>
            <a:r>
              <a:rPr lang="da-DK" sz="2600" dirty="0">
                <a:solidFill>
                  <a:schemeClr val="tx1">
                    <a:lumMod val="85000"/>
                    <a:lumOff val="15000"/>
                  </a:schemeClr>
                </a:solidFill>
                <a:latin typeface="Segoe UI Light" panose="020B0502040204020203" pitchFamily="34" charset="0"/>
                <a:cs typeface="Segoe UI Light" panose="020B0502040204020203" pitchFamily="34" charset="0"/>
              </a:rPr>
              <a:t>’ arbejdet – dvs. noter, slides, tekster og links gemmes i OneNote, som også deles i teamet. </a:t>
            </a:r>
          </a:p>
          <a:p>
            <a:pPr marL="742950" indent="-742950" algn="l">
              <a:buAutoNum type="alphaLcParenR"/>
            </a:pPr>
            <a:r>
              <a:rPr lang="da-DK" sz="2600" dirty="0">
                <a:solidFill>
                  <a:schemeClr val="tx1">
                    <a:lumMod val="85000"/>
                    <a:lumOff val="15000"/>
                  </a:schemeClr>
                </a:solidFill>
                <a:latin typeface="Segoe UI Light" panose="020B0502040204020203" pitchFamily="34" charset="0"/>
                <a:cs typeface="Segoe UI Light" panose="020B0502040204020203" pitchFamily="34" charset="0"/>
              </a:rPr>
              <a:t>Til skrivningen starter de med et nyt Word-dokument, hvor de opbygger strukturen. Når de er færdige, åbner de det direkte i Word på deres computer for de færdige grafiske rettelser. </a:t>
            </a:r>
          </a:p>
          <a:p>
            <a:pPr marL="742950" indent="-742950" algn="l">
              <a:buAutoNum type="alphaLcParenR"/>
            </a:pPr>
            <a:r>
              <a:rPr lang="da-DK" sz="2600" dirty="0">
                <a:solidFill>
                  <a:schemeClr val="tx1">
                    <a:lumMod val="85000"/>
                    <a:lumOff val="15000"/>
                  </a:schemeClr>
                </a:solidFill>
                <a:latin typeface="Segoe UI Light" panose="020B0502040204020203" pitchFamily="34" charset="0"/>
                <a:cs typeface="Segoe UI Light" panose="020B0502040204020203" pitchFamily="34" charset="0"/>
              </a:rPr>
              <a:t>‘</a:t>
            </a:r>
            <a:r>
              <a:rPr lang="da-DK" sz="2600" dirty="0" err="1">
                <a:solidFill>
                  <a:schemeClr val="tx1">
                    <a:lumMod val="85000"/>
                    <a:lumOff val="15000"/>
                  </a:schemeClr>
                </a:solidFill>
                <a:latin typeface="Segoe UI Light" panose="020B0502040204020203" pitchFamily="34" charset="0"/>
                <a:cs typeface="Segoe UI Light" panose="020B0502040204020203" pitchFamily="34" charset="0"/>
              </a:rPr>
              <a:t>Back-stage</a:t>
            </a:r>
            <a:r>
              <a:rPr lang="da-DK" sz="2600" dirty="0">
                <a:solidFill>
                  <a:schemeClr val="tx1">
                    <a:lumMod val="85000"/>
                    <a:lumOff val="15000"/>
                  </a:schemeClr>
                </a:solidFill>
                <a:latin typeface="Segoe UI Light" panose="020B0502040204020203" pitchFamily="34" charset="0"/>
                <a:cs typeface="Segoe UI Light" panose="020B0502040204020203" pitchFamily="34" charset="0"/>
              </a:rPr>
              <a:t>’ arbejdet – dvs. noter, slides, tekster og links gemmes i OneNote, som også deles i teamet. </a:t>
            </a:r>
          </a:p>
          <a:p>
            <a:pPr marL="742950" indent="-742950" algn="l">
              <a:buAutoNum type="alphaLcParenR"/>
            </a:pPr>
            <a:endParaRPr lang="da-DK" sz="2600" dirty="0">
              <a:solidFill>
                <a:schemeClr val="tx1">
                  <a:lumMod val="85000"/>
                  <a:lumOff val="15000"/>
                </a:schemeClr>
              </a:solidFill>
              <a:latin typeface="Segoe UI Light" panose="020B0502040204020203" pitchFamily="34" charset="0"/>
              <a:cs typeface="Segoe UI Light" panose="020B0502040204020203" pitchFamily="34" charset="0"/>
            </a:endParaRPr>
          </a:p>
        </p:txBody>
      </p:sp>
      <p:pic>
        <p:nvPicPr>
          <p:cNvPr id="5" name="Billede 4" descr="Et billede, der indeholder bærbar computer, computer, person, indendørs&#10;&#10;Beskrivelse, der er oprettet med meget høj sikkerhed">
            <a:extLst>
              <a:ext uri="{FF2B5EF4-FFF2-40B4-BE49-F238E27FC236}">
                <a16:creationId xmlns:a16="http://schemas.microsoft.com/office/drawing/2014/main" id="{DE9DCBAC-2501-48DA-A9AC-62540948F10E}"/>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9977055" y="342206"/>
            <a:ext cx="1852065" cy="1232529"/>
          </a:xfrm>
          <a:prstGeom prst="rect">
            <a:avLst/>
          </a:prstGeom>
        </p:spPr>
      </p:pic>
    </p:spTree>
    <p:custDataLst>
      <p:custData r:id="rId1"/>
      <p:tags r:id="rId2"/>
    </p:custDataLst>
    <p:extLst>
      <p:ext uri="{BB962C8B-B14F-4D97-AF65-F5344CB8AC3E}">
        <p14:creationId xmlns:p14="http://schemas.microsoft.com/office/powerpoint/2010/main" val="3964181461"/>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186971" y="1"/>
            <a:ext cx="11052529" cy="1422400"/>
          </a:xfrm>
        </p:spPr>
        <p:txBody>
          <a:bodyPr>
            <a:normAutofit/>
          </a:bodyPr>
          <a:lstStyle/>
          <a:p>
            <a:pPr algn="l"/>
            <a:r>
              <a:rPr lang="da-DK" sz="6600" b="1" dirty="0">
                <a:solidFill>
                  <a:schemeClr val="tx1">
                    <a:lumMod val="85000"/>
                    <a:lumOff val="15000"/>
                  </a:schemeClr>
                </a:solidFill>
                <a:latin typeface="Segoe UI Light" panose="020B0502040204020203" pitchFamily="34" charset="0"/>
                <a:cs typeface="Segoe UI Light" panose="020B0502040204020203" pitchFamily="34" charset="0"/>
              </a:rPr>
              <a:t>2) Samarbejde i faggruppe</a:t>
            </a:r>
            <a:endParaRPr lang="da-DK" dirty="0">
              <a:solidFill>
                <a:schemeClr val="tx1">
                  <a:lumMod val="85000"/>
                  <a:lumOff val="15000"/>
                </a:schemeClr>
              </a:solidFill>
              <a:latin typeface="Segoe UI Light" panose="020B0502040204020203" pitchFamily="34" charset="0"/>
              <a:cs typeface="Segoe UI Light" panose="020B0502040204020203" pitchFamily="34" charset="0"/>
            </a:endParaRPr>
          </a:p>
        </p:txBody>
      </p:sp>
      <p:sp>
        <p:nvSpPr>
          <p:cNvPr id="3" name="Titel 1">
            <a:extLst>
              <a:ext uri="{FF2B5EF4-FFF2-40B4-BE49-F238E27FC236}">
                <a16:creationId xmlns:a16="http://schemas.microsoft.com/office/drawing/2014/main" id="{774F5203-BA34-4241-9E2E-800C7904D2DD}"/>
              </a:ext>
            </a:extLst>
          </p:cNvPr>
          <p:cNvSpPr txBox="1">
            <a:spLocks/>
          </p:cNvSpPr>
          <p:nvPr/>
        </p:nvSpPr>
        <p:spPr>
          <a:xfrm>
            <a:off x="307621" y="2786706"/>
            <a:ext cx="11223979" cy="370902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742950" indent="-742950" algn="l">
              <a:buAutoNum type="alphaLcParenR"/>
            </a:pPr>
            <a:r>
              <a:rPr lang="da-DK" sz="2600" dirty="0">
                <a:solidFill>
                  <a:schemeClr val="tx1">
                    <a:lumMod val="85000"/>
                    <a:lumOff val="15000"/>
                  </a:schemeClr>
                </a:solidFill>
                <a:latin typeface="Segoe UI Light" panose="020B0502040204020203" pitchFamily="34" charset="0"/>
                <a:cs typeface="Segoe UI Light" panose="020B0502040204020203" pitchFamily="34" charset="0"/>
              </a:rPr>
              <a:t>Lærerne bliver på et udvalgsmøde enige om at samle undervisningsmaterialer og filer ét sted. Formanden for udvalget opretter en PLC-gruppe for sine kolleger. </a:t>
            </a:r>
          </a:p>
          <a:p>
            <a:pPr marL="742950" indent="-742950" algn="l">
              <a:buAutoNum type="alphaLcParenR"/>
            </a:pPr>
            <a:r>
              <a:rPr lang="da-DK" sz="2600" dirty="0">
                <a:solidFill>
                  <a:schemeClr val="tx1">
                    <a:lumMod val="85000"/>
                    <a:lumOff val="15000"/>
                  </a:schemeClr>
                </a:solidFill>
                <a:latin typeface="Segoe UI Light" panose="020B0502040204020203" pitchFamily="34" charset="0"/>
                <a:cs typeface="Segoe UI Light" panose="020B0502040204020203" pitchFamily="34" charset="0"/>
              </a:rPr>
              <a:t>Lærerne diskuterer hvilke overordnede faglige tematikker, de gerne vil arbejde med – og opretter 4 dertilhørende kanaler: skriftlighed, mundtlighed, SRP-vejledning og elevinddragelse. Her diskuteres emnet og relevante filer deles i kanalerne. </a:t>
            </a:r>
          </a:p>
          <a:p>
            <a:pPr marL="742950" indent="-742950" algn="l">
              <a:buFontTx/>
              <a:buAutoNum type="alphaLcParenR"/>
            </a:pPr>
            <a:r>
              <a:rPr lang="da-DK" sz="2600" dirty="0">
                <a:solidFill>
                  <a:schemeClr val="tx1">
                    <a:lumMod val="85000"/>
                    <a:lumOff val="15000"/>
                  </a:schemeClr>
                </a:solidFill>
                <a:latin typeface="Segoe UI Light" panose="020B0502040204020203" pitchFamily="34" charset="0"/>
                <a:cs typeface="Segoe UI Light" panose="020B0502040204020203" pitchFamily="34" charset="0"/>
              </a:rPr>
              <a:t>Til møderne laves dagsorden, referat og kommentarer i OneNote, så alle kan se hvad der besluttes og hvad der skal arbejdes videre med. </a:t>
            </a:r>
          </a:p>
          <a:p>
            <a:pPr marL="742950" indent="-742950" algn="l">
              <a:buAutoNum type="alphaLcParenR"/>
            </a:pPr>
            <a:r>
              <a:rPr lang="da-DK" sz="2600" dirty="0">
                <a:solidFill>
                  <a:schemeClr val="tx1">
                    <a:lumMod val="85000"/>
                    <a:lumOff val="15000"/>
                  </a:schemeClr>
                </a:solidFill>
                <a:latin typeface="Segoe UI Light" panose="020B0502040204020203" pitchFamily="34" charset="0"/>
                <a:cs typeface="Segoe UI Light" panose="020B0502040204020203" pitchFamily="34" charset="0"/>
              </a:rPr>
              <a:t>Undervisningsmaterialer lægges både i det tilhørende filbibliotek og via OneNote, hvor det med et klik kan flyttes til lærernes egne notesbøger.</a:t>
            </a:r>
          </a:p>
          <a:p>
            <a:pPr marL="742950" indent="-742950" algn="l">
              <a:buAutoNum type="alphaLcParenR"/>
            </a:pPr>
            <a:r>
              <a:rPr lang="da-DK" sz="2600" dirty="0">
                <a:solidFill>
                  <a:schemeClr val="tx1">
                    <a:lumMod val="85000"/>
                    <a:lumOff val="15000"/>
                  </a:schemeClr>
                </a:solidFill>
                <a:latin typeface="Segoe UI Light" panose="020B0502040204020203" pitchFamily="34" charset="0"/>
                <a:cs typeface="Segoe UI Light" panose="020B0502040204020203" pitchFamily="34" charset="0"/>
              </a:rPr>
              <a:t>Fagligt relevante hjemmesider indlejres i teamet, så nye materialer hurtigt kan findes og vurderes til møderne.</a:t>
            </a:r>
          </a:p>
        </p:txBody>
      </p:sp>
      <p:pic>
        <p:nvPicPr>
          <p:cNvPr id="5" name="Billede 4" descr="Et billede, der indeholder person, bord, indendørs, kvinde&#10;&#10;Beskrivelse, der er oprettet med meget høj sikkerhed">
            <a:extLst>
              <a:ext uri="{FF2B5EF4-FFF2-40B4-BE49-F238E27FC236}">
                <a16:creationId xmlns:a16="http://schemas.microsoft.com/office/drawing/2014/main" id="{094D2191-2665-4F95-AA0F-65DB52F5425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31401" y="444282"/>
            <a:ext cx="1973494" cy="1108745"/>
          </a:xfrm>
          <a:prstGeom prst="rect">
            <a:avLst/>
          </a:prstGeom>
        </p:spPr>
      </p:pic>
    </p:spTree>
    <p:custDataLst>
      <p:custData r:id="rId1"/>
      <p:tags r:id="rId2"/>
    </p:custDataLst>
    <p:extLst>
      <p:ext uri="{BB962C8B-B14F-4D97-AF65-F5344CB8AC3E}">
        <p14:creationId xmlns:p14="http://schemas.microsoft.com/office/powerpoint/2010/main" val="1844290309"/>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155221" y="-641979"/>
            <a:ext cx="11052529" cy="1960365"/>
          </a:xfrm>
        </p:spPr>
        <p:txBody>
          <a:bodyPr>
            <a:normAutofit/>
          </a:bodyPr>
          <a:lstStyle/>
          <a:p>
            <a:pPr algn="l"/>
            <a:r>
              <a:rPr lang="da-DK" sz="6600" b="1" dirty="0">
                <a:solidFill>
                  <a:schemeClr val="tx1">
                    <a:lumMod val="85000"/>
                    <a:lumOff val="15000"/>
                  </a:schemeClr>
                </a:solidFill>
                <a:latin typeface="Segoe UI Light" panose="020B0502040204020203" pitchFamily="34" charset="0"/>
                <a:cs typeface="Segoe UI Light" panose="020B0502040204020203" pitchFamily="34" charset="0"/>
              </a:rPr>
              <a:t>3) Kommunikation m. elever</a:t>
            </a:r>
            <a:endParaRPr lang="da-DK" dirty="0">
              <a:solidFill>
                <a:schemeClr val="tx1">
                  <a:lumMod val="85000"/>
                  <a:lumOff val="15000"/>
                </a:schemeClr>
              </a:solidFill>
              <a:latin typeface="Segoe UI Light" panose="020B0502040204020203" pitchFamily="34" charset="0"/>
              <a:cs typeface="Segoe UI Light" panose="020B0502040204020203" pitchFamily="34" charset="0"/>
            </a:endParaRPr>
          </a:p>
        </p:txBody>
      </p:sp>
      <p:sp>
        <p:nvSpPr>
          <p:cNvPr id="3" name="Titel 1">
            <a:extLst>
              <a:ext uri="{FF2B5EF4-FFF2-40B4-BE49-F238E27FC236}">
                <a16:creationId xmlns:a16="http://schemas.microsoft.com/office/drawing/2014/main" id="{411273FE-57BC-46BC-A002-51EDE3C904AB}"/>
              </a:ext>
            </a:extLst>
          </p:cNvPr>
          <p:cNvSpPr txBox="1">
            <a:spLocks/>
          </p:cNvSpPr>
          <p:nvPr/>
        </p:nvSpPr>
        <p:spPr>
          <a:xfrm>
            <a:off x="307621" y="2786706"/>
            <a:ext cx="11223979" cy="370902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742950" indent="-742950" algn="l">
              <a:buAutoNum type="alphaLcParenR"/>
            </a:pPr>
            <a:r>
              <a:rPr lang="da-DK" sz="2600" dirty="0">
                <a:solidFill>
                  <a:schemeClr val="tx1">
                    <a:lumMod val="85000"/>
                    <a:lumOff val="15000"/>
                  </a:schemeClr>
                </a:solidFill>
                <a:latin typeface="Segoe UI Light" panose="020B0502040204020203" pitchFamily="34" charset="0"/>
                <a:cs typeface="Segoe UI Light" panose="020B0502040204020203" pitchFamily="34" charset="0"/>
              </a:rPr>
              <a:t>Eleverne forbydes at bruge Facebook i undervisningen, da det flytter for meget koncentration ud af klasseværelset. I stedet installerer de alle Teams på deres mobile enheder og på deres maskiner. </a:t>
            </a:r>
          </a:p>
          <a:p>
            <a:pPr marL="742950" indent="-742950" algn="l">
              <a:buAutoNum type="alphaLcParenR"/>
            </a:pPr>
            <a:r>
              <a:rPr lang="da-DK" sz="2600" dirty="0">
                <a:solidFill>
                  <a:schemeClr val="tx1">
                    <a:lumMod val="85000"/>
                    <a:lumOff val="15000"/>
                  </a:schemeClr>
                </a:solidFill>
                <a:latin typeface="Segoe UI Light" panose="020B0502040204020203" pitchFamily="34" charset="0"/>
                <a:cs typeface="Segoe UI Light" panose="020B0502040204020203" pitchFamily="34" charset="0"/>
              </a:rPr>
              <a:t>Hele skolen er oprettet i systemet, og eleverne kan nemt finde hinanden og se om hinanden er online. Det betyder, at hvis en elev ikke er i skole, hurtigt både kan se de delte materialer fra dagen og lærernes samt elevernes kommentarer og spørgsmål til disse. </a:t>
            </a:r>
          </a:p>
          <a:p>
            <a:pPr marL="742950" indent="-742950" algn="l">
              <a:buAutoNum type="alphaLcParenR"/>
            </a:pPr>
            <a:r>
              <a:rPr lang="da-DK" sz="2600" dirty="0">
                <a:solidFill>
                  <a:schemeClr val="tx1">
                    <a:lumMod val="85000"/>
                    <a:lumOff val="15000"/>
                  </a:schemeClr>
                </a:solidFill>
                <a:latin typeface="Segoe UI Light" panose="020B0502040204020203" pitchFamily="34" charset="0"/>
                <a:cs typeface="Segoe UI Light" panose="020B0502040204020203" pitchFamily="34" charset="0"/>
              </a:rPr>
              <a:t>Lærere behøver ikke længere lede efter elever, når de sendes ud til gruppearbejde – dette løses ved at tagge klassen, så alle får beskeden.</a:t>
            </a:r>
          </a:p>
          <a:p>
            <a:pPr marL="742950" indent="-742950" algn="l">
              <a:buAutoNum type="alphaLcParenR"/>
            </a:pPr>
            <a:r>
              <a:rPr lang="da-DK" sz="2600" dirty="0">
                <a:solidFill>
                  <a:schemeClr val="tx1">
                    <a:lumMod val="85000"/>
                    <a:lumOff val="15000"/>
                  </a:schemeClr>
                </a:solidFill>
                <a:latin typeface="Segoe UI Light" panose="020B0502040204020203" pitchFamily="34" charset="0"/>
                <a:cs typeface="Segoe UI Light" panose="020B0502040204020203" pitchFamily="34" charset="0"/>
              </a:rPr>
              <a:t>Skolen er begyndt at indføre digitale lektiehjælpstimer, hvor lærere et par timer om ugen er til rådighed på chat og videoopkald til at svare på elevernes spørgsmål hjemmefra. Dette indføres også i forbindelse med vejledning til større opgaver. </a:t>
            </a:r>
          </a:p>
        </p:txBody>
      </p:sp>
      <p:pic>
        <p:nvPicPr>
          <p:cNvPr id="5" name="Billede 4">
            <a:extLst>
              <a:ext uri="{FF2B5EF4-FFF2-40B4-BE49-F238E27FC236}">
                <a16:creationId xmlns:a16="http://schemas.microsoft.com/office/drawing/2014/main" id="{B004F907-3A50-4A2F-9637-0D12939C74A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299187" y="668684"/>
            <a:ext cx="1551728" cy="1034382"/>
          </a:xfrm>
          <a:prstGeom prst="rect">
            <a:avLst/>
          </a:prstGeom>
        </p:spPr>
      </p:pic>
    </p:spTree>
    <p:custDataLst>
      <p:custData r:id="rId1"/>
      <p:tags r:id="rId2"/>
    </p:custDataLst>
    <p:extLst>
      <p:ext uri="{BB962C8B-B14F-4D97-AF65-F5344CB8AC3E}">
        <p14:creationId xmlns:p14="http://schemas.microsoft.com/office/powerpoint/2010/main" val="3184838724"/>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690934" y="-425281"/>
            <a:ext cx="10502613" cy="1960365"/>
          </a:xfrm>
        </p:spPr>
        <p:txBody>
          <a:bodyPr/>
          <a:lstStyle/>
          <a:p>
            <a:pPr algn="l"/>
            <a:r>
              <a:rPr lang="da-DK" sz="7200" b="1" dirty="0">
                <a:solidFill>
                  <a:schemeClr val="tx1">
                    <a:lumMod val="85000"/>
                    <a:lumOff val="15000"/>
                  </a:schemeClr>
                </a:solidFill>
              </a:rPr>
              <a:t>Hvordan er jeres proces?</a:t>
            </a:r>
            <a:endParaRPr lang="da-DK" sz="6600" dirty="0">
              <a:solidFill>
                <a:schemeClr val="tx1">
                  <a:lumMod val="85000"/>
                  <a:lumOff val="15000"/>
                </a:schemeClr>
              </a:solidFill>
            </a:endParaRPr>
          </a:p>
        </p:txBody>
      </p:sp>
      <p:graphicFrame>
        <p:nvGraphicFramePr>
          <p:cNvPr id="3" name="Diagram 2">
            <a:extLst>
              <a:ext uri="{FF2B5EF4-FFF2-40B4-BE49-F238E27FC236}">
                <a16:creationId xmlns:a16="http://schemas.microsoft.com/office/drawing/2014/main" id="{74E40CCD-F1D9-45BE-B329-DB8B51CEF6D5}"/>
              </a:ext>
            </a:extLst>
          </p:cNvPr>
          <p:cNvGraphicFramePr/>
          <p:nvPr>
            <p:extLst>
              <p:ext uri="{D42A27DB-BD31-4B8C-83A1-F6EECF244321}">
                <p14:modId xmlns:p14="http://schemas.microsoft.com/office/powerpoint/2010/main" val="4288358782"/>
              </p:ext>
            </p:extLst>
          </p:nvPr>
        </p:nvGraphicFramePr>
        <p:xfrm>
          <a:off x="230114" y="719666"/>
          <a:ext cx="11911422" cy="584463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custData r:id="rId1"/>
      <p:tags r:id="rId2"/>
    </p:custDataLst>
    <p:extLst>
      <p:ext uri="{BB962C8B-B14F-4D97-AF65-F5344CB8AC3E}">
        <p14:creationId xmlns:p14="http://schemas.microsoft.com/office/powerpoint/2010/main" val="27395255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00100" y="1491343"/>
            <a:ext cx="3333749" cy="3499103"/>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028700" y="1967266"/>
            <a:ext cx="2628900" cy="2547257"/>
          </a:xfrm>
          <a:prstGeom prst="ellipse">
            <a:avLst/>
          </a:prstGeom>
          <a:noFill/>
        </p:spPr>
        <p:txBody>
          <a:bodyPr anchor="ctr">
            <a:normAutofit/>
          </a:bodyPr>
          <a:lstStyle/>
          <a:p>
            <a:pPr algn="ctr"/>
            <a:r>
              <a:rPr lang="da-DK" sz="3100" b="1" i="1" dirty="0">
                <a:solidFill>
                  <a:srgbClr val="FFFFFF"/>
                </a:solidFill>
                <a:latin typeface="Segoe UI Light" panose="020B0502040204020203" pitchFamily="34" charset="0"/>
                <a:cs typeface="Segoe UI Light" panose="020B0502040204020203" pitchFamily="34" charset="0"/>
              </a:rPr>
              <a:t>Hjælp til ordblinde og til læsningen</a:t>
            </a:r>
            <a:endParaRPr lang="da-DK" sz="3100" i="1" dirty="0">
              <a:solidFill>
                <a:srgbClr val="FFFFFF"/>
              </a:solidFill>
              <a:latin typeface="Segoe UI Light" panose="020B0502040204020203" pitchFamily="34" charset="0"/>
              <a:cs typeface="Segoe UI Light" panose="020B0502040204020203" pitchFamily="34" charset="0"/>
            </a:endParaRPr>
          </a:p>
        </p:txBody>
      </p:sp>
      <p:pic>
        <p:nvPicPr>
          <p:cNvPr id="3" name="Picture 2" descr="Billedresultat for microsoft learning tools">
            <a:extLst>
              <a:ext uri="{FF2B5EF4-FFF2-40B4-BE49-F238E27FC236}">
                <a16:creationId xmlns:a16="http://schemas.microsoft.com/office/drawing/2014/main" id="{9030E986-DB8F-4521-B2E3-63271C3C12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77316" y="1520764"/>
            <a:ext cx="6780700" cy="38141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5043144"/>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6615" y="1700488"/>
            <a:ext cx="11094330" cy="3548405"/>
          </a:xfrm>
        </p:spPr>
        <p:txBody>
          <a:bodyPr>
            <a:noAutofit/>
          </a:bodyPr>
          <a:lstStyle/>
          <a:p>
            <a:r>
              <a:rPr lang="da-DK" sz="4000" b="1" dirty="0">
                <a:solidFill>
                  <a:schemeClr val="tx1">
                    <a:lumMod val="75000"/>
                    <a:lumOff val="25000"/>
                  </a:schemeClr>
                </a:solidFill>
                <a:latin typeface="Segoe UI Light" panose="020B0502040204020203" pitchFamily="34" charset="0"/>
                <a:cs typeface="Segoe UI Light" panose="020B0502040204020203" pitchFamily="34" charset="0"/>
              </a:rPr>
              <a:t>Office Lens til iOS – scan bøger og få dem læst op direkte på dit </a:t>
            </a:r>
            <a:r>
              <a:rPr lang="da-DK" sz="4000" b="1" dirty="0" err="1">
                <a:solidFill>
                  <a:schemeClr val="tx1">
                    <a:lumMod val="75000"/>
                    <a:lumOff val="25000"/>
                  </a:schemeClr>
                </a:solidFill>
                <a:latin typeface="Segoe UI Light" panose="020B0502040204020203" pitchFamily="34" charset="0"/>
                <a:cs typeface="Segoe UI Light" panose="020B0502040204020203" pitchFamily="34" charset="0"/>
              </a:rPr>
              <a:t>device</a:t>
            </a:r>
            <a:r>
              <a:rPr lang="da-DK" sz="4000" b="1" dirty="0">
                <a:solidFill>
                  <a:schemeClr val="tx1">
                    <a:lumMod val="75000"/>
                    <a:lumOff val="25000"/>
                  </a:schemeClr>
                </a:solidFill>
                <a:latin typeface="Segoe UI Light" panose="020B0502040204020203" pitchFamily="34" charset="0"/>
                <a:cs typeface="Segoe UI Light" panose="020B0502040204020203" pitchFamily="34" charset="0"/>
              </a:rPr>
              <a:t> – find i  App Store</a:t>
            </a:r>
            <a:br>
              <a:rPr lang="da-DK" sz="4000" b="1" dirty="0">
                <a:solidFill>
                  <a:schemeClr val="tx1">
                    <a:lumMod val="75000"/>
                    <a:lumOff val="25000"/>
                  </a:schemeClr>
                </a:solidFill>
                <a:latin typeface="Segoe UI Light" panose="020B0502040204020203" pitchFamily="34" charset="0"/>
                <a:cs typeface="Segoe UI Light" panose="020B0502040204020203" pitchFamily="34" charset="0"/>
              </a:rPr>
            </a:br>
            <a:br>
              <a:rPr lang="da-DK" sz="4000" b="1" dirty="0">
                <a:solidFill>
                  <a:schemeClr val="tx1">
                    <a:lumMod val="75000"/>
                    <a:lumOff val="25000"/>
                  </a:schemeClr>
                </a:solidFill>
                <a:latin typeface="Segoe UI Light" panose="020B0502040204020203" pitchFamily="34" charset="0"/>
                <a:cs typeface="Segoe UI Light" panose="020B0502040204020203" pitchFamily="34" charset="0"/>
              </a:rPr>
            </a:br>
            <a:r>
              <a:rPr lang="da-DK" sz="4000" b="1" dirty="0">
                <a:solidFill>
                  <a:schemeClr val="tx1">
                    <a:lumMod val="75000"/>
                    <a:lumOff val="25000"/>
                  </a:schemeClr>
                </a:solidFill>
                <a:latin typeface="Segoe UI Light" panose="020B0502040204020203" pitchFamily="34" charset="0"/>
                <a:cs typeface="Segoe UI Light" panose="020B0502040204020203" pitchFamily="34" charset="0"/>
              </a:rPr>
              <a:t>På PC: vælg ‘Vis’ i OneNote og Word Online – vælg ‘Moderne læser’ – husk evt. at angive sprog</a:t>
            </a:r>
            <a:br>
              <a:rPr lang="da-DK" sz="4000" b="1" dirty="0">
                <a:solidFill>
                  <a:schemeClr val="tx1">
                    <a:lumMod val="75000"/>
                    <a:lumOff val="25000"/>
                  </a:schemeClr>
                </a:solidFill>
                <a:latin typeface="Segoe UI Light" panose="020B0502040204020203" pitchFamily="34" charset="0"/>
                <a:cs typeface="Segoe UI Light" panose="020B0502040204020203" pitchFamily="34" charset="0"/>
              </a:rPr>
            </a:br>
            <a:br>
              <a:rPr lang="da-DK" sz="4000" b="1" dirty="0">
                <a:solidFill>
                  <a:schemeClr val="tx1">
                    <a:lumMod val="75000"/>
                    <a:lumOff val="25000"/>
                  </a:schemeClr>
                </a:solidFill>
                <a:latin typeface="Segoe UI Light" panose="020B0502040204020203" pitchFamily="34" charset="0"/>
                <a:cs typeface="Segoe UI Light" panose="020B0502040204020203" pitchFamily="34" charset="0"/>
              </a:rPr>
            </a:br>
            <a:r>
              <a:rPr lang="da-DK" sz="4000" b="1" dirty="0">
                <a:solidFill>
                  <a:schemeClr val="tx1">
                    <a:lumMod val="75000"/>
                    <a:lumOff val="25000"/>
                  </a:schemeClr>
                </a:solidFill>
                <a:latin typeface="Segoe UI Light" panose="020B0502040204020203" pitchFamily="34" charset="0"/>
                <a:cs typeface="Segoe UI Light" panose="020B0502040204020203" pitchFamily="34" charset="0"/>
              </a:rPr>
              <a:t>OneNote 2016: der findes et plugin, download: </a:t>
            </a:r>
            <a:r>
              <a:rPr lang="da-DK" sz="4000" b="1" dirty="0">
                <a:solidFill>
                  <a:schemeClr val="tx1">
                    <a:lumMod val="75000"/>
                    <a:lumOff val="25000"/>
                  </a:schemeClr>
                </a:solidFill>
                <a:latin typeface="Segoe UI Light" panose="020B0502040204020203" pitchFamily="34" charset="0"/>
                <a:cs typeface="Segoe UI Light" panose="020B0502040204020203" pitchFamily="34" charset="0"/>
                <a:hlinkClick r:id="rId3"/>
              </a:rPr>
              <a:t>https://www.onenote.com/learningtools</a:t>
            </a:r>
            <a:br>
              <a:rPr lang="da-DK" sz="4000" b="1" dirty="0">
                <a:solidFill>
                  <a:schemeClr val="tx1">
                    <a:lumMod val="75000"/>
                    <a:lumOff val="25000"/>
                  </a:schemeClr>
                </a:solidFill>
                <a:latin typeface="Segoe UI Light" panose="020B0502040204020203" pitchFamily="34" charset="0"/>
                <a:cs typeface="Segoe UI Light" panose="020B0502040204020203" pitchFamily="34" charset="0"/>
              </a:rPr>
            </a:br>
            <a:br>
              <a:rPr lang="da-DK" sz="4000" b="1" dirty="0">
                <a:solidFill>
                  <a:schemeClr val="tx1">
                    <a:lumMod val="75000"/>
                    <a:lumOff val="25000"/>
                  </a:schemeClr>
                </a:solidFill>
                <a:latin typeface="Segoe UI Light" panose="020B0502040204020203" pitchFamily="34" charset="0"/>
                <a:cs typeface="Segoe UI Light" panose="020B0502040204020203" pitchFamily="34" charset="0"/>
              </a:rPr>
            </a:br>
            <a:r>
              <a:rPr lang="da-DK" sz="4000" b="1" dirty="0">
                <a:solidFill>
                  <a:schemeClr val="tx1">
                    <a:lumMod val="75000"/>
                    <a:lumOff val="25000"/>
                  </a:schemeClr>
                </a:solidFill>
                <a:latin typeface="Segoe UI Light" panose="020B0502040204020203" pitchFamily="34" charset="0"/>
                <a:cs typeface="Segoe UI Light" panose="020B0502040204020203" pitchFamily="34" charset="0"/>
              </a:rPr>
              <a:t>OneNote til Windows 10: findes integreret i </a:t>
            </a:r>
            <a:r>
              <a:rPr lang="da-DK" sz="4000" b="1" dirty="0" err="1">
                <a:solidFill>
                  <a:schemeClr val="tx1">
                    <a:lumMod val="75000"/>
                    <a:lumOff val="25000"/>
                  </a:schemeClr>
                </a:solidFill>
                <a:latin typeface="Segoe UI Light" panose="020B0502040204020203" pitchFamily="34" charset="0"/>
                <a:cs typeface="Segoe UI Light" panose="020B0502040204020203" pitchFamily="34" charset="0"/>
              </a:rPr>
              <a:t>app’en</a:t>
            </a:r>
            <a:endParaRPr lang="da-DK" sz="4000" i="1" dirty="0">
              <a:solidFill>
                <a:schemeClr val="tx1">
                  <a:lumMod val="75000"/>
                  <a:lumOff val="25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080674692"/>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005E27B-2688-47D4-81DF-42873FEFC824}"/>
              </a:ext>
            </a:extLst>
          </p:cNvPr>
          <p:cNvPicPr>
            <a:picLocks noChangeAspect="1"/>
          </p:cNvPicPr>
          <p:nvPr/>
        </p:nvPicPr>
        <p:blipFill rotWithShape="1">
          <a:blip r:embed="rId3">
            <a:alphaModFix amt="35000"/>
            <a:extLst>
              <a:ext uri="{28A0092B-C50C-407E-A947-70E740481C1C}">
                <a14:useLocalDpi xmlns:a14="http://schemas.microsoft.com/office/drawing/2010/main" val="0"/>
              </a:ext>
            </a:extLst>
          </a:blip>
          <a:srcRect l="31755" r="18453"/>
          <a:stretch/>
        </p:blipFill>
        <p:spPr>
          <a:xfrm>
            <a:off x="-3" y="-28"/>
            <a:ext cx="12192000" cy="6855958"/>
          </a:xfrm>
          <a:prstGeom prst="rect">
            <a:avLst/>
          </a:prstGeom>
        </p:spPr>
      </p:pic>
      <p:sp>
        <p:nvSpPr>
          <p:cNvPr id="2" name="Title 1"/>
          <p:cNvSpPr>
            <a:spLocks noGrp="1"/>
          </p:cNvSpPr>
          <p:nvPr>
            <p:ph type="title"/>
          </p:nvPr>
        </p:nvSpPr>
        <p:spPr>
          <a:xfrm>
            <a:off x="4419271" y="2992523"/>
            <a:ext cx="8743324" cy="5005387"/>
          </a:xfrm>
          <a:prstGeom prst="ellipse">
            <a:avLst/>
          </a:prstGeom>
        </p:spPr>
        <p:txBody>
          <a:bodyPr vert="horz" lIns="91440" tIns="45720" rIns="91440" bIns="45720" rtlCol="0" anchor="t">
            <a:normAutofit/>
          </a:bodyPr>
          <a:lstStyle/>
          <a:p>
            <a:r>
              <a:rPr lang="da-DK" sz="4800" b="1" i="1" kern="1200" dirty="0">
                <a:solidFill>
                  <a:schemeClr val="tx1"/>
                </a:solidFill>
                <a:latin typeface="+mj-lt"/>
                <a:ea typeface="+mj-ea"/>
                <a:cs typeface="+mj-cs"/>
              </a:rPr>
              <a:t>Vær med i vores netværk for undervisere!</a:t>
            </a:r>
            <a:br>
              <a:rPr lang="en-US" sz="4800" b="1" i="1" kern="1200" dirty="0">
                <a:solidFill>
                  <a:schemeClr val="tx1"/>
                </a:solidFill>
                <a:latin typeface="+mj-lt"/>
                <a:ea typeface="+mj-ea"/>
                <a:cs typeface="+mj-cs"/>
              </a:rPr>
            </a:br>
            <a:br>
              <a:rPr lang="en-US" sz="4800" b="1" i="1" kern="1200" dirty="0">
                <a:solidFill>
                  <a:schemeClr val="tx1"/>
                </a:solidFill>
                <a:latin typeface="+mj-lt"/>
                <a:ea typeface="+mj-ea"/>
                <a:cs typeface="+mj-cs"/>
              </a:rPr>
            </a:br>
            <a:r>
              <a:rPr lang="en-US" sz="4800" b="1" u="sng" kern="1200" dirty="0">
                <a:solidFill>
                  <a:schemeClr val="tx1"/>
                </a:solidFill>
                <a:latin typeface="+mj-lt"/>
                <a:ea typeface="+mj-ea"/>
                <a:cs typeface="+mj-cs"/>
              </a:rPr>
              <a:t>www.aka.ms/MIEteam</a:t>
            </a:r>
            <a:endParaRPr lang="en-US" sz="4800" u="sng" kern="1200" dirty="0">
              <a:solidFill>
                <a:schemeClr val="tx1"/>
              </a:solidFill>
              <a:latin typeface="+mj-lt"/>
              <a:ea typeface="+mj-ea"/>
              <a:cs typeface="+mj-cs"/>
            </a:endParaRPr>
          </a:p>
        </p:txBody>
      </p:sp>
      <p:sp>
        <p:nvSpPr>
          <p:cNvPr id="20" name="Freeform: Shape 19">
            <a:extLst>
              <a:ext uri="{FF2B5EF4-FFF2-40B4-BE49-F238E27FC236}">
                <a16:creationId xmlns:a16="http://schemas.microsoft.com/office/drawing/2014/main" id="{F72D119F-8562-42DA-AE9A-70D44FDCFD1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0" y="0"/>
            <a:ext cx="5389868" cy="6374535"/>
          </a:xfrm>
          <a:custGeom>
            <a:avLst/>
            <a:gdLst>
              <a:gd name="connsiteX0" fmla="*/ 620377 w 5389868"/>
              <a:gd name="connsiteY0" fmla="*/ 6374535 h 6374535"/>
              <a:gd name="connsiteX1" fmla="*/ 3459520 w 5389868"/>
              <a:gd name="connsiteY1" fmla="*/ 6374535 h 6374535"/>
              <a:gd name="connsiteX2" fmla="*/ 3638761 w 5389868"/>
              <a:gd name="connsiteY2" fmla="*/ 6288190 h 6374535"/>
              <a:gd name="connsiteX3" fmla="*/ 5389868 w 5389868"/>
              <a:gd name="connsiteY3" fmla="*/ 3346018 h 6374535"/>
              <a:gd name="connsiteX4" fmla="*/ 2043850 w 5389868"/>
              <a:gd name="connsiteY4" fmla="*/ 0 h 6374535"/>
              <a:gd name="connsiteX5" fmla="*/ 139826 w 5389868"/>
              <a:gd name="connsiteY5" fmla="*/ 594192 h 6374535"/>
              <a:gd name="connsiteX6" fmla="*/ 0 w 5389868"/>
              <a:gd name="connsiteY6" fmla="*/ 700065 h 6374535"/>
              <a:gd name="connsiteX7" fmla="*/ 0 w 5389868"/>
              <a:gd name="connsiteY7" fmla="*/ 5991971 h 6374535"/>
              <a:gd name="connsiteX8" fmla="*/ 139827 w 5389868"/>
              <a:gd name="connsiteY8" fmla="*/ 6097845 h 6374535"/>
              <a:gd name="connsiteX9" fmla="*/ 378347 w 5389868"/>
              <a:gd name="connsiteY9" fmla="*/ 6248727 h 637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89868" h="6374535">
                <a:moveTo>
                  <a:pt x="620377" y="6374535"/>
                </a:moveTo>
                <a:lnTo>
                  <a:pt x="3459520" y="6374535"/>
                </a:lnTo>
                <a:lnTo>
                  <a:pt x="3638761" y="6288190"/>
                </a:lnTo>
                <a:cubicBezTo>
                  <a:pt x="4681799" y="5721578"/>
                  <a:pt x="5389868" y="4616487"/>
                  <a:pt x="5389868" y="3346018"/>
                </a:cubicBezTo>
                <a:cubicBezTo>
                  <a:pt x="5389868" y="1498063"/>
                  <a:pt x="3891805" y="0"/>
                  <a:pt x="2043850" y="0"/>
                </a:cubicBezTo>
                <a:cubicBezTo>
                  <a:pt x="1336430" y="0"/>
                  <a:pt x="680285" y="219535"/>
                  <a:pt x="139826" y="594192"/>
                </a:cubicBezTo>
                <a:lnTo>
                  <a:pt x="0" y="700065"/>
                </a:lnTo>
                <a:lnTo>
                  <a:pt x="0" y="5991971"/>
                </a:lnTo>
                <a:lnTo>
                  <a:pt x="139827" y="6097845"/>
                </a:lnTo>
                <a:cubicBezTo>
                  <a:pt x="217035" y="6151367"/>
                  <a:pt x="296605" y="6201724"/>
                  <a:pt x="378347" y="6248727"/>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26D34DC0-CC7E-4652-A1E8-B66F17CDF8EE}"/>
              </a:ext>
            </a:extLst>
          </p:cNvPr>
          <p:cNvPicPr>
            <a:picLocks noChangeAspect="1"/>
          </p:cNvPicPr>
          <p:nvPr/>
        </p:nvPicPr>
        <p:blipFill rotWithShape="1">
          <a:blip r:embed="rId4"/>
          <a:srcRect l="6342" r="25600"/>
          <a:stretch/>
        </p:blipFill>
        <p:spPr>
          <a:xfrm>
            <a:off x="2" y="2"/>
            <a:ext cx="5234519" cy="6210629"/>
          </a:xfrm>
          <a:custGeom>
            <a:avLst/>
            <a:gdLst>
              <a:gd name="connsiteX0" fmla="*/ 1082595 w 5234519"/>
              <a:gd name="connsiteY0" fmla="*/ 0 h 6210629"/>
              <a:gd name="connsiteX1" fmla="*/ 3027450 w 5234519"/>
              <a:gd name="connsiteY1" fmla="*/ 0 h 6210629"/>
              <a:gd name="connsiteX2" fmla="*/ 3291029 w 5234519"/>
              <a:gd name="connsiteY2" fmla="*/ 96471 h 6210629"/>
              <a:gd name="connsiteX3" fmla="*/ 5234519 w 5234519"/>
              <a:gd name="connsiteY3" fmla="*/ 3028517 h 6210629"/>
              <a:gd name="connsiteX4" fmla="*/ 2052407 w 5234519"/>
              <a:gd name="connsiteY4" fmla="*/ 6210629 h 6210629"/>
              <a:gd name="connsiteX5" fmla="*/ 28288 w 5234519"/>
              <a:gd name="connsiteY5" fmla="*/ 5483989 h 6210629"/>
              <a:gd name="connsiteX6" fmla="*/ 0 w 5234519"/>
              <a:gd name="connsiteY6" fmla="*/ 5458279 h 6210629"/>
              <a:gd name="connsiteX7" fmla="*/ 0 w 5234519"/>
              <a:gd name="connsiteY7" fmla="*/ 598754 h 6210629"/>
              <a:gd name="connsiteX8" fmla="*/ 28288 w 5234519"/>
              <a:gd name="connsiteY8" fmla="*/ 573044 h 6210629"/>
              <a:gd name="connsiteX9" fmla="*/ 958290 w 5234519"/>
              <a:gd name="connsiteY9" fmla="*/ 39494 h 6210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34519" h="6210629">
                <a:moveTo>
                  <a:pt x="1082595" y="0"/>
                </a:moveTo>
                <a:lnTo>
                  <a:pt x="3027450" y="0"/>
                </a:lnTo>
                <a:lnTo>
                  <a:pt x="3291029" y="96471"/>
                </a:lnTo>
                <a:cubicBezTo>
                  <a:pt x="4433137" y="579542"/>
                  <a:pt x="5234519" y="1710443"/>
                  <a:pt x="5234519" y="3028517"/>
                </a:cubicBezTo>
                <a:cubicBezTo>
                  <a:pt x="5234519" y="4785949"/>
                  <a:pt x="3809839" y="6210629"/>
                  <a:pt x="2052407" y="6210629"/>
                </a:cubicBezTo>
                <a:cubicBezTo>
                  <a:pt x="1283531" y="6210629"/>
                  <a:pt x="578345" y="5937936"/>
                  <a:pt x="28288" y="5483989"/>
                </a:cubicBezTo>
                <a:lnTo>
                  <a:pt x="0" y="5458279"/>
                </a:lnTo>
                <a:lnTo>
                  <a:pt x="0" y="598754"/>
                </a:lnTo>
                <a:lnTo>
                  <a:pt x="28288" y="573044"/>
                </a:lnTo>
                <a:cubicBezTo>
                  <a:pt x="303317" y="346070"/>
                  <a:pt x="617127" y="164410"/>
                  <a:pt x="958290" y="39494"/>
                </a:cubicBezTo>
                <a:close/>
              </a:path>
            </a:pathLst>
          </a:custGeom>
        </p:spPr>
      </p:pic>
    </p:spTree>
    <p:extLst>
      <p:ext uri="{BB962C8B-B14F-4D97-AF65-F5344CB8AC3E}">
        <p14:creationId xmlns:p14="http://schemas.microsoft.com/office/powerpoint/2010/main" val="35230776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59000"/>
    </mc:Choice>
    <mc:Fallback xmlns="">
      <p:transition spd="slow"/>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85157" y="631912"/>
            <a:ext cx="10668000" cy="2387600"/>
          </a:xfrm>
        </p:spPr>
        <p:txBody>
          <a:bodyPr>
            <a:noAutofit/>
          </a:bodyPr>
          <a:lstStyle/>
          <a:p>
            <a:r>
              <a:rPr lang="da-DK" sz="7200" dirty="0">
                <a:latin typeface="Segoe UI Light" panose="020B0502040204020203" pitchFamily="34" charset="0"/>
                <a:cs typeface="Segoe UI Light" panose="020B0502040204020203" pitchFamily="34" charset="0"/>
              </a:rPr>
              <a:t>Download </a:t>
            </a:r>
            <a:r>
              <a:rPr lang="da-DK" sz="7200" dirty="0">
                <a:solidFill>
                  <a:srgbClr val="FF0000"/>
                </a:solidFill>
                <a:latin typeface="Segoe UI Light" panose="020B0502040204020203" pitchFamily="34" charset="0"/>
                <a:cs typeface="Segoe UI Light" panose="020B0502040204020203" pitchFamily="34" charset="0"/>
              </a:rPr>
              <a:t>Office Lens </a:t>
            </a:r>
            <a:r>
              <a:rPr lang="da-DK" sz="7200" dirty="0">
                <a:latin typeface="Segoe UI Light" panose="020B0502040204020203" pitchFamily="34" charset="0"/>
                <a:cs typeface="Segoe UI Light" panose="020B0502040204020203" pitchFamily="34" charset="0"/>
              </a:rPr>
              <a:t>på App Store/Google Play</a:t>
            </a:r>
          </a:p>
        </p:txBody>
      </p:sp>
      <p:pic>
        <p:nvPicPr>
          <p:cNvPr id="4" name="Billede 1"/>
          <p:cNvPicPr>
            <a:picLocks noChangeAspect="1"/>
          </p:cNvPicPr>
          <p:nvPr/>
        </p:nvPicPr>
        <p:blipFill rotWithShape="1">
          <a:blip r:embed="rId3"/>
          <a:srcRect l="8837" t="17509" r="388" b="-452"/>
          <a:stretch/>
        </p:blipFill>
        <p:spPr>
          <a:xfrm>
            <a:off x="1451933" y="3353099"/>
            <a:ext cx="5704649" cy="2981199"/>
          </a:xfrm>
          <a:prstGeom prst="rect">
            <a:avLst/>
          </a:prstGeom>
        </p:spPr>
      </p:pic>
      <p:pic>
        <p:nvPicPr>
          <p:cNvPr id="5" name="Picture 4"/>
          <p:cNvPicPr>
            <a:picLocks noChangeAspect="1"/>
          </p:cNvPicPr>
          <p:nvPr/>
        </p:nvPicPr>
        <p:blipFill rotWithShape="1">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rcRect l="3363" t="6465" b="9685"/>
          <a:stretch/>
        </p:blipFill>
        <p:spPr>
          <a:xfrm>
            <a:off x="0" y="-15612"/>
            <a:ext cx="12192000" cy="6858000"/>
          </a:xfrm>
          <a:prstGeom prst="rect">
            <a:avLst/>
          </a:prstGeom>
        </p:spPr>
      </p:pic>
      <p:sp>
        <p:nvSpPr>
          <p:cNvPr id="7" name="TextBox 6"/>
          <p:cNvSpPr txBox="1"/>
          <p:nvPr/>
        </p:nvSpPr>
        <p:spPr>
          <a:xfrm>
            <a:off x="506267" y="4958372"/>
            <a:ext cx="6650315" cy="1569660"/>
          </a:xfrm>
          <a:prstGeom prst="rect">
            <a:avLst/>
          </a:prstGeom>
          <a:solidFill>
            <a:srgbClr val="0070C0">
              <a:alpha val="84000"/>
            </a:srgbClr>
          </a:solidFill>
        </p:spPr>
        <p:txBody>
          <a:bodyPr wrap="square" rtlCol="0">
            <a:spAutoFit/>
          </a:bodyPr>
          <a:lstStyle/>
          <a:p>
            <a:r>
              <a:rPr lang="da-DK" sz="4800" dirty="0">
                <a:solidFill>
                  <a:schemeClr val="bg1"/>
                </a:solidFill>
                <a:latin typeface="Segoe UI Light" panose="020B0502040204020203" pitchFamily="34" charset="0"/>
                <a:cs typeface="Segoe UI Light" panose="020B0502040204020203" pitchFamily="34" charset="0"/>
              </a:rPr>
              <a:t>@erikicarter</a:t>
            </a:r>
          </a:p>
          <a:p>
            <a:pPr algn="ctr"/>
            <a:r>
              <a:rPr lang="da-DK" sz="4800" dirty="0">
                <a:solidFill>
                  <a:schemeClr val="bg1"/>
                </a:solidFill>
                <a:latin typeface="Segoe UI Light" panose="020B0502040204020203" pitchFamily="34" charset="0"/>
                <a:cs typeface="Segoe UI Light" panose="020B0502040204020203" pitchFamily="34" charset="0"/>
              </a:rPr>
              <a:t>a-ercart@microsoft.com</a:t>
            </a:r>
            <a:endParaRPr lang="da-DK" sz="4000" dirty="0">
              <a:solidFill>
                <a:schemeClr val="bg1"/>
              </a:solidFill>
              <a:latin typeface="Segoe UI Light" panose="020B0502040204020203" pitchFamily="34" charset="0"/>
              <a:cs typeface="Segoe UI Light" panose="020B0502040204020203" pitchFamily="34" charset="0"/>
            </a:endParaRPr>
          </a:p>
        </p:txBody>
      </p:sp>
      <p:sp>
        <p:nvSpPr>
          <p:cNvPr id="6" name="TextBox 6">
            <a:extLst>
              <a:ext uri="{FF2B5EF4-FFF2-40B4-BE49-F238E27FC236}">
                <a16:creationId xmlns:a16="http://schemas.microsoft.com/office/drawing/2014/main" id="{9DCD5399-110E-4D09-8074-B5A368F5A7AD}"/>
              </a:ext>
            </a:extLst>
          </p:cNvPr>
          <p:cNvSpPr txBox="1"/>
          <p:nvPr/>
        </p:nvSpPr>
        <p:spPr>
          <a:xfrm>
            <a:off x="542493" y="3436313"/>
            <a:ext cx="1818880" cy="1200329"/>
          </a:xfrm>
          <a:prstGeom prst="rect">
            <a:avLst/>
          </a:prstGeom>
          <a:solidFill>
            <a:srgbClr val="0070C0">
              <a:alpha val="84000"/>
            </a:srgbClr>
          </a:solidFill>
        </p:spPr>
        <p:txBody>
          <a:bodyPr wrap="square" rtlCol="0">
            <a:spAutoFit/>
          </a:bodyPr>
          <a:lstStyle/>
          <a:p>
            <a:pPr algn="ctr"/>
            <a:r>
              <a:rPr lang="da-DK" sz="7200" dirty="0">
                <a:solidFill>
                  <a:schemeClr val="bg1"/>
                </a:solidFill>
                <a:latin typeface="Segoe UI Light" panose="020B0502040204020203" pitchFamily="34" charset="0"/>
                <a:cs typeface="Segoe UI Light" panose="020B0502040204020203" pitchFamily="34" charset="0"/>
              </a:rPr>
              <a:t>Tak!</a:t>
            </a:r>
          </a:p>
        </p:txBody>
      </p:sp>
    </p:spTree>
    <p:extLst>
      <p:ext uri="{BB962C8B-B14F-4D97-AF65-F5344CB8AC3E}">
        <p14:creationId xmlns:p14="http://schemas.microsoft.com/office/powerpoint/2010/main" val="1046984767"/>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2418"/>
            <a:ext cx="6096000" cy="685702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 name="Picture 5" hidden="1"/>
          <p:cNvPicPr>
            <a:picLocks noChangeAspect="1"/>
          </p:cNvPicPr>
          <p:nvPr/>
        </p:nvPicPr>
        <p:blipFill rotWithShape="1">
          <a:blip r:embed="rId3" cstate="print">
            <a:extLst>
              <a:ext uri="{28A0092B-C50C-407E-A947-70E740481C1C}">
                <a14:useLocalDpi xmlns:a14="http://schemas.microsoft.com/office/drawing/2010/main" val="0"/>
              </a:ext>
            </a:extLst>
          </a:blip>
          <a:srcRect r="39787"/>
          <a:stretch/>
        </p:blipFill>
        <p:spPr>
          <a:xfrm>
            <a:off x="3635" y="972"/>
            <a:ext cx="7337339" cy="6856483"/>
          </a:xfrm>
          <a:prstGeom prst="rect">
            <a:avLst/>
          </a:prstGeom>
        </p:spPr>
      </p:pic>
      <p:sp>
        <p:nvSpPr>
          <p:cNvPr id="17" name="Rectangle 16"/>
          <p:cNvSpPr/>
          <p:nvPr/>
        </p:nvSpPr>
        <p:spPr>
          <a:xfrm>
            <a:off x="6218387" y="2084364"/>
            <a:ext cx="5715955" cy="2197525"/>
          </a:xfrm>
          <a:prstGeom prst="rect">
            <a:avLst/>
          </a:prstGeom>
        </p:spPr>
        <p:txBody>
          <a:bodyPr wrap="square">
            <a:spAutoFit/>
          </a:bodyPr>
          <a:lstStyle/>
          <a:p>
            <a:pPr algn="ctr" defTabSz="914225">
              <a:lnSpc>
                <a:spcPct val="95000"/>
              </a:lnSpc>
              <a:defRPr/>
            </a:pPr>
            <a:r>
              <a:rPr lang="en-US" sz="7200" dirty="0">
                <a:gradFill>
                  <a:gsLst>
                    <a:gs pos="0">
                      <a:srgbClr val="FFFFFF"/>
                    </a:gs>
                    <a:gs pos="58000">
                      <a:srgbClr val="FFFFFF"/>
                    </a:gs>
                  </a:gsLst>
                  <a:lin ang="5400000" scaled="1"/>
                </a:gradFill>
                <a:latin typeface="Segoe UI Light"/>
              </a:rPr>
              <a:t>Apps </a:t>
            </a:r>
            <a:r>
              <a:rPr lang="en-US" sz="7200" dirty="0" err="1">
                <a:gradFill>
                  <a:gsLst>
                    <a:gs pos="0">
                      <a:srgbClr val="FFFFFF"/>
                    </a:gs>
                    <a:gs pos="58000">
                      <a:srgbClr val="FFFFFF"/>
                    </a:gs>
                  </a:gsLst>
                  <a:lin ang="5400000" scaled="1"/>
                </a:gradFill>
                <a:latin typeface="Segoe UI Light"/>
              </a:rPr>
              <a:t>i</a:t>
            </a:r>
            <a:r>
              <a:rPr lang="en-US" sz="7200" dirty="0">
                <a:gradFill>
                  <a:gsLst>
                    <a:gs pos="0">
                      <a:srgbClr val="FFFFFF"/>
                    </a:gs>
                    <a:gs pos="58000">
                      <a:srgbClr val="FFFFFF"/>
                    </a:gs>
                  </a:gsLst>
                  <a:lin ang="5400000" scaled="1"/>
                </a:gradFill>
                <a:latin typeface="Segoe UI Light"/>
              </a:rPr>
              <a:t> </a:t>
            </a:r>
          </a:p>
          <a:p>
            <a:pPr algn="ctr" defTabSz="914225">
              <a:lnSpc>
                <a:spcPct val="95000"/>
              </a:lnSpc>
              <a:defRPr/>
            </a:pPr>
            <a:r>
              <a:rPr lang="en-US" sz="7200" dirty="0">
                <a:gradFill>
                  <a:gsLst>
                    <a:gs pos="0">
                      <a:srgbClr val="FFFFFF"/>
                    </a:gs>
                    <a:gs pos="58000">
                      <a:srgbClr val="FFFFFF"/>
                    </a:gs>
                  </a:gsLst>
                  <a:lin ang="5400000" scaled="1"/>
                </a:gradFill>
                <a:latin typeface="Segoe UI Light"/>
              </a:rPr>
              <a:t>Office 365</a:t>
            </a:r>
          </a:p>
        </p:txBody>
      </p:sp>
      <p:pic>
        <p:nvPicPr>
          <p:cNvPr id="12" name="Picture 11"/>
          <p:cNvPicPr>
            <a:picLocks noChangeAspect="1"/>
          </p:cNvPicPr>
          <p:nvPr/>
        </p:nvPicPr>
        <p:blipFill rotWithShape="1">
          <a:blip r:embed="rId4" cstate="print">
            <a:extLst>
              <a:ext uri="{28A0092B-C50C-407E-A947-70E740481C1C}">
                <a14:useLocalDpi xmlns:a14="http://schemas.microsoft.com/office/drawing/2010/main" val="0"/>
              </a:ext>
            </a:extLst>
          </a:blip>
          <a:srcRect l="7149" t="21898" r="7545" b="19206"/>
          <a:stretch/>
        </p:blipFill>
        <p:spPr>
          <a:xfrm>
            <a:off x="10204613" y="470488"/>
            <a:ext cx="1539175" cy="367872"/>
          </a:xfrm>
          <a:prstGeom prst="rect">
            <a:avLst/>
          </a:prstGeom>
        </p:spPr>
      </p:pic>
      <p:sp>
        <p:nvSpPr>
          <p:cNvPr id="3" name="Rectangle 2"/>
          <p:cNvSpPr>
            <a:spLocks noChangeArrowheads="1"/>
          </p:cNvSpPr>
          <p:nvPr/>
        </p:nvSpPr>
        <p:spPr bwMode="auto">
          <a:xfrm rot="1448699">
            <a:off x="6005451" y="-180578"/>
            <a:ext cx="181099" cy="362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42" tIns="44821" rIns="89642" bIns="44821" numCol="1" anchor="ctr" anchorCtr="0" compatLnSpc="1">
            <a:prstTxWarp prst="textNoShape">
              <a:avLst/>
            </a:prstTxWarp>
            <a:spAutoFit/>
          </a:bodyPr>
          <a:lstStyle/>
          <a:p>
            <a:pPr defTabSz="914367">
              <a:defRPr/>
            </a:pPr>
            <a:endParaRPr lang="en-US" sz="1765">
              <a:solidFill>
                <a:srgbClr val="FFFFFF"/>
              </a:solidFill>
              <a:latin typeface="Segoe UI"/>
            </a:endParaRPr>
          </a:p>
        </p:txBody>
      </p:sp>
      <p:grpSp>
        <p:nvGrpSpPr>
          <p:cNvPr id="5" name="Group 4"/>
          <p:cNvGrpSpPr/>
          <p:nvPr/>
        </p:nvGrpSpPr>
        <p:grpSpPr>
          <a:xfrm>
            <a:off x="1013414" y="1311454"/>
            <a:ext cx="4538921" cy="4062155"/>
            <a:chOff x="394669" y="1037605"/>
            <a:chExt cx="5496376" cy="4919038"/>
          </a:xfrm>
        </p:grpSpPr>
        <p:pic>
          <p:nvPicPr>
            <p:cNvPr id="18" name="Picture 17"/>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419433" y="2787053"/>
              <a:ext cx="1345658" cy="1420418"/>
            </a:xfrm>
            <a:prstGeom prst="rect">
              <a:avLst/>
            </a:prstGeom>
          </p:spPr>
        </p:pic>
        <p:pic>
          <p:nvPicPr>
            <p:cNvPr id="21" name="Picture 20"/>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394669" y="1347323"/>
              <a:ext cx="1370422" cy="1342553"/>
            </a:xfrm>
            <a:prstGeom prst="rect">
              <a:avLst/>
            </a:prstGeom>
          </p:spPr>
        </p:pic>
        <p:pic>
          <p:nvPicPr>
            <p:cNvPr id="2" name="Picture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9433" y="4584762"/>
              <a:ext cx="1371881" cy="1371881"/>
            </a:xfrm>
            <a:prstGeom prst="rect">
              <a:avLst/>
            </a:prstGeom>
          </p:spPr>
        </p:pic>
        <p:pic>
          <p:nvPicPr>
            <p:cNvPr id="10" name="Picture 9"/>
            <p:cNvPicPr>
              <a:picLocks noChangeAspect="1"/>
            </p:cNvPicPr>
            <p:nvPr/>
          </p:nvPicPr>
          <p:blipFill>
            <a:blip r:embed="rId8"/>
            <a:stretch>
              <a:fillRect/>
            </a:stretch>
          </p:blipFill>
          <p:spPr>
            <a:xfrm>
              <a:off x="2409343" y="1347323"/>
              <a:ext cx="1280145" cy="1280145"/>
            </a:xfrm>
            <a:prstGeom prst="rect">
              <a:avLst/>
            </a:prstGeom>
          </p:spPr>
        </p:pic>
        <p:pic>
          <p:nvPicPr>
            <p:cNvPr id="14" name="Picture 13"/>
            <p:cNvPicPr>
              <a:picLocks noChangeAspect="1"/>
            </p:cNvPicPr>
            <p:nvPr/>
          </p:nvPicPr>
          <p:blipFill>
            <a:blip r:embed="rId9"/>
            <a:stretch>
              <a:fillRect/>
            </a:stretch>
          </p:blipFill>
          <p:spPr>
            <a:xfrm>
              <a:off x="2486905" y="2939215"/>
              <a:ext cx="1244425" cy="1244425"/>
            </a:xfrm>
            <a:prstGeom prst="rect">
              <a:avLst/>
            </a:prstGeom>
          </p:spPr>
        </p:pic>
        <p:pic>
          <p:nvPicPr>
            <p:cNvPr id="13" name="Picture 12"/>
            <p:cNvPicPr>
              <a:picLocks noChangeAspect="1"/>
            </p:cNvPicPr>
            <p:nvPr/>
          </p:nvPicPr>
          <p:blipFill rotWithShape="1">
            <a:blip r:embed="rId10">
              <a:extLst>
                <a:ext uri="{28A0092B-C50C-407E-A947-70E740481C1C}">
                  <a14:useLocalDpi xmlns:a14="http://schemas.microsoft.com/office/drawing/2010/main" val="0"/>
                </a:ext>
              </a:extLst>
            </a:blip>
            <a:srcRect r="47714"/>
            <a:stretch/>
          </p:blipFill>
          <p:spPr>
            <a:xfrm>
              <a:off x="4016679" y="1037605"/>
              <a:ext cx="1874366" cy="1961988"/>
            </a:xfrm>
            <a:prstGeom prst="rect">
              <a:avLst/>
            </a:prstGeom>
          </p:spPr>
        </p:pic>
      </p:grpSp>
      <p:pic>
        <p:nvPicPr>
          <p:cNvPr id="9" name="Picture 8"/>
          <p:cNvPicPr>
            <a:picLocks noChangeAspect="1"/>
          </p:cNvPicPr>
          <p:nvPr/>
        </p:nvPicPr>
        <p:blipFill>
          <a:blip r:embed="rId11"/>
          <a:stretch>
            <a:fillRect/>
          </a:stretch>
        </p:blipFill>
        <p:spPr>
          <a:xfrm>
            <a:off x="4232832" y="2788588"/>
            <a:ext cx="1248435" cy="1280824"/>
          </a:xfrm>
          <a:prstGeom prst="rect">
            <a:avLst/>
          </a:prstGeom>
        </p:spPr>
      </p:pic>
      <p:pic>
        <p:nvPicPr>
          <p:cNvPr id="11" name="Picture 10"/>
          <p:cNvPicPr>
            <a:picLocks noChangeAspect="1"/>
          </p:cNvPicPr>
          <p:nvPr/>
        </p:nvPicPr>
        <p:blipFill>
          <a:blip r:embed="rId12"/>
          <a:stretch>
            <a:fillRect/>
          </a:stretch>
        </p:blipFill>
        <p:spPr>
          <a:xfrm>
            <a:off x="2564113" y="4159638"/>
            <a:ext cx="1273035" cy="1295038"/>
          </a:xfrm>
          <a:prstGeom prst="rect">
            <a:avLst/>
          </a:prstGeom>
        </p:spPr>
      </p:pic>
      <p:pic>
        <p:nvPicPr>
          <p:cNvPr id="7" name="Billede 6">
            <a:extLst>
              <a:ext uri="{FF2B5EF4-FFF2-40B4-BE49-F238E27FC236}">
                <a16:creationId xmlns:a16="http://schemas.microsoft.com/office/drawing/2014/main" id="{7DC8ABFD-92C5-4871-8FCE-51B8E7C8B1EE}"/>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004479" y="3926332"/>
            <a:ext cx="1725307" cy="1725307"/>
          </a:xfrm>
          <a:prstGeom prst="rect">
            <a:avLst/>
          </a:prstGeom>
        </p:spPr>
      </p:pic>
    </p:spTree>
    <p:extLst>
      <p:ext uri="{BB962C8B-B14F-4D97-AF65-F5344CB8AC3E}">
        <p14:creationId xmlns:p14="http://schemas.microsoft.com/office/powerpoint/2010/main" val="2979804974"/>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gn="ctr"/>
            <a:r>
              <a:rPr lang="da-DK" sz="7200" dirty="0"/>
              <a:t>3 behov for samarbejde</a:t>
            </a:r>
          </a:p>
        </p:txBody>
      </p:sp>
      <p:sp>
        <p:nvSpPr>
          <p:cNvPr id="3" name="Pladsholder til tekst 2"/>
          <p:cNvSpPr>
            <a:spLocks noGrp="1"/>
          </p:cNvSpPr>
          <p:nvPr>
            <p:ph type="body" sz="quarter" idx="10"/>
          </p:nvPr>
        </p:nvSpPr>
        <p:spPr>
          <a:xfrm>
            <a:off x="184469" y="4355921"/>
            <a:ext cx="4225834" cy="2043636"/>
          </a:xfrm>
        </p:spPr>
        <p:txBody>
          <a:bodyPr/>
          <a:lstStyle/>
          <a:p>
            <a:pPr marL="0" indent="0" algn="ctr">
              <a:buNone/>
            </a:pPr>
            <a:r>
              <a:rPr lang="da-DK" sz="3200" b="1" dirty="0">
                <a:solidFill>
                  <a:schemeClr val="tx1">
                    <a:lumMod val="65000"/>
                    <a:lumOff val="35000"/>
                  </a:schemeClr>
                </a:solidFill>
              </a:rPr>
              <a:t>Teams – hold </a:t>
            </a:r>
          </a:p>
          <a:p>
            <a:pPr marL="0" indent="0" algn="ctr">
              <a:buNone/>
            </a:pPr>
            <a:r>
              <a:rPr lang="da-DK" sz="3200" dirty="0">
                <a:solidFill>
                  <a:schemeClr val="tx1">
                    <a:lumMod val="65000"/>
                    <a:lumOff val="35000"/>
                  </a:schemeClr>
                </a:solidFill>
              </a:rPr>
              <a:t>Klasseniveau</a:t>
            </a:r>
          </a:p>
          <a:p>
            <a:pPr marL="0" indent="0" algn="ctr">
              <a:buNone/>
            </a:pPr>
            <a:r>
              <a:rPr lang="da-DK" sz="3200" dirty="0">
                <a:solidFill>
                  <a:schemeClr val="tx1">
                    <a:lumMod val="65000"/>
                    <a:lumOff val="35000"/>
                  </a:schemeClr>
                </a:solidFill>
              </a:rPr>
              <a:t>Lærer-elev</a:t>
            </a:r>
          </a:p>
          <a:p>
            <a:pPr marL="0" indent="0" algn="ctr">
              <a:buNone/>
            </a:pPr>
            <a:r>
              <a:rPr lang="da-DK" sz="3200" dirty="0">
                <a:solidFill>
                  <a:schemeClr val="tx1">
                    <a:lumMod val="65000"/>
                    <a:lumOff val="35000"/>
                  </a:schemeClr>
                </a:solidFill>
              </a:rPr>
              <a:t>Administreret miljø</a:t>
            </a:r>
          </a:p>
        </p:txBody>
      </p:sp>
      <p:pic>
        <p:nvPicPr>
          <p:cNvPr id="5" name="Billede 4"/>
          <p:cNvPicPr>
            <a:picLocks noChangeAspect="1"/>
          </p:cNvPicPr>
          <p:nvPr/>
        </p:nvPicPr>
        <p:blipFill rotWithShape="1">
          <a:blip r:embed="rId3">
            <a:extLst>
              <a:ext uri="{28A0092B-C50C-407E-A947-70E740481C1C}">
                <a14:useLocalDpi xmlns:a14="http://schemas.microsoft.com/office/drawing/2010/main" val="0"/>
              </a:ext>
            </a:extLst>
          </a:blip>
          <a:srcRect r="19389" b="30345"/>
          <a:stretch/>
        </p:blipFill>
        <p:spPr>
          <a:xfrm>
            <a:off x="300266" y="1909300"/>
            <a:ext cx="4110037" cy="2367644"/>
          </a:xfrm>
          <a:prstGeom prst="rect">
            <a:avLst/>
          </a:prstGeom>
        </p:spPr>
      </p:pic>
      <p:pic>
        <p:nvPicPr>
          <p:cNvPr id="6" name="Billed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10303" y="1909300"/>
            <a:ext cx="3739243" cy="2367644"/>
          </a:xfrm>
          <a:prstGeom prst="rect">
            <a:avLst/>
          </a:prstGeom>
        </p:spPr>
      </p:pic>
      <p:sp>
        <p:nvSpPr>
          <p:cNvPr id="8" name="Pladsholder til tekst 2"/>
          <p:cNvSpPr txBox="1">
            <a:spLocks/>
          </p:cNvSpPr>
          <p:nvPr/>
        </p:nvSpPr>
        <p:spPr>
          <a:xfrm>
            <a:off x="4410303" y="4355921"/>
            <a:ext cx="3916187" cy="2043636"/>
          </a:xfrm>
          <a:prstGeom prst="rect">
            <a:avLst/>
          </a:prstGeom>
        </p:spPr>
        <p:txBody>
          <a:bodyPr vert="horz" lIns="0" tIns="0" rIns="0" bIns="0" rtlCol="0">
            <a:noAutofit/>
          </a:bodyPr>
          <a:lstStyle>
            <a:lvl1pPr marL="284163" marR="0" indent="-284163" algn="l" defTabSz="914363" rtl="0" eaLnBrk="1" fontAlgn="auto" latinLnBrk="0" hangingPunct="1">
              <a:lnSpc>
                <a:spcPct val="90000"/>
              </a:lnSpc>
              <a:spcBef>
                <a:spcPct val="20000"/>
              </a:spcBef>
              <a:spcAft>
                <a:spcPts val="0"/>
              </a:spcAft>
              <a:buClrTx/>
              <a:buSzPct val="80000"/>
              <a:buFont typeface="Wingdings" pitchFamily="2" charset="2"/>
              <a:buChar char=""/>
              <a:tabLst/>
              <a:defRPr sz="4000" kern="1200" spc="-70" baseline="0">
                <a:gradFill>
                  <a:gsLst>
                    <a:gs pos="1250">
                      <a:schemeClr val="bg2"/>
                    </a:gs>
                    <a:gs pos="100000">
                      <a:schemeClr val="bg2"/>
                    </a:gs>
                  </a:gsLst>
                  <a:lin ang="5400000" scaled="0"/>
                </a:gradFill>
                <a:latin typeface="+mj-lt"/>
                <a:ea typeface="+mn-ea"/>
                <a:cs typeface="+mn-cs"/>
              </a:defRPr>
            </a:lvl1pPr>
            <a:lvl2pPr marL="517525"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41363" marR="0" indent="-223838"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3pPr>
            <a:lvl4pPr marL="914400" marR="0" indent="-173038"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087438" marR="0" indent="-173038"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a-DK" sz="3200" b="1" dirty="0">
                <a:solidFill>
                  <a:schemeClr val="tx1">
                    <a:lumMod val="65000"/>
                    <a:lumOff val="35000"/>
                  </a:schemeClr>
                </a:solidFill>
                <a:latin typeface="Segoe UI Light"/>
              </a:rPr>
              <a:t>Teams - grupper</a:t>
            </a:r>
          </a:p>
          <a:p>
            <a:pPr marL="0" indent="0" algn="ctr">
              <a:buNone/>
            </a:pPr>
            <a:r>
              <a:rPr lang="da-DK" sz="3200" dirty="0">
                <a:solidFill>
                  <a:schemeClr val="tx1">
                    <a:lumMod val="65000"/>
                    <a:lumOff val="35000"/>
                  </a:schemeClr>
                </a:solidFill>
                <a:latin typeface="Segoe UI Light"/>
              </a:rPr>
              <a:t>Gruppeniveau</a:t>
            </a:r>
          </a:p>
          <a:p>
            <a:pPr marL="0" indent="0" algn="ctr">
              <a:buNone/>
            </a:pPr>
            <a:r>
              <a:rPr lang="da-DK" sz="3200" dirty="0">
                <a:solidFill>
                  <a:schemeClr val="tx1">
                    <a:lumMod val="65000"/>
                    <a:lumOff val="35000"/>
                  </a:schemeClr>
                </a:solidFill>
                <a:latin typeface="Segoe UI Light"/>
              </a:rPr>
              <a:t>Lærer-lærer, elev-elev</a:t>
            </a:r>
          </a:p>
          <a:p>
            <a:pPr marL="0" indent="0" algn="ctr">
              <a:buNone/>
            </a:pPr>
            <a:r>
              <a:rPr lang="da-DK" sz="3200" dirty="0">
                <a:solidFill>
                  <a:schemeClr val="tx1">
                    <a:lumMod val="65000"/>
                    <a:lumOff val="35000"/>
                  </a:schemeClr>
                </a:solidFill>
                <a:latin typeface="Segoe UI Light"/>
              </a:rPr>
              <a:t>Filer er fælleseje</a:t>
            </a:r>
          </a:p>
        </p:txBody>
      </p:sp>
      <p:sp>
        <p:nvSpPr>
          <p:cNvPr id="9" name="Pladsholder til tekst 2"/>
          <p:cNvSpPr txBox="1">
            <a:spLocks/>
          </p:cNvSpPr>
          <p:nvPr/>
        </p:nvSpPr>
        <p:spPr>
          <a:xfrm>
            <a:off x="8149546" y="4355921"/>
            <a:ext cx="3950305" cy="2367644"/>
          </a:xfrm>
          <a:prstGeom prst="rect">
            <a:avLst/>
          </a:prstGeom>
          <a:solidFill>
            <a:schemeClr val="bg1"/>
          </a:solidFill>
        </p:spPr>
        <p:txBody>
          <a:bodyPr vert="horz" lIns="0" tIns="0" rIns="0" bIns="0" rtlCol="0">
            <a:noAutofit/>
          </a:bodyPr>
          <a:lstStyle>
            <a:lvl1pPr marL="284163" marR="0" indent="-284163" algn="l" defTabSz="914363" rtl="0" eaLnBrk="1" fontAlgn="auto" latinLnBrk="0" hangingPunct="1">
              <a:lnSpc>
                <a:spcPct val="90000"/>
              </a:lnSpc>
              <a:spcBef>
                <a:spcPct val="20000"/>
              </a:spcBef>
              <a:spcAft>
                <a:spcPts val="0"/>
              </a:spcAft>
              <a:buClrTx/>
              <a:buSzPct val="80000"/>
              <a:buFont typeface="Wingdings" pitchFamily="2" charset="2"/>
              <a:buChar char=""/>
              <a:tabLst/>
              <a:defRPr sz="4000" kern="1200" spc="-70" baseline="0">
                <a:gradFill>
                  <a:gsLst>
                    <a:gs pos="1250">
                      <a:schemeClr val="bg2"/>
                    </a:gs>
                    <a:gs pos="100000">
                      <a:schemeClr val="bg2"/>
                    </a:gs>
                  </a:gsLst>
                  <a:lin ang="5400000" scaled="0"/>
                </a:gradFill>
                <a:latin typeface="+mj-lt"/>
                <a:ea typeface="+mn-ea"/>
                <a:cs typeface="+mn-cs"/>
              </a:defRPr>
            </a:lvl1pPr>
            <a:lvl2pPr marL="517525"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41363" marR="0" indent="-223838"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3pPr>
            <a:lvl4pPr marL="914400" marR="0" indent="-173038"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087438" marR="0" indent="-173038"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a-DK" sz="3200" b="1" dirty="0">
                <a:solidFill>
                  <a:schemeClr val="tx1">
                    <a:lumMod val="65000"/>
                    <a:lumOff val="35000"/>
                  </a:schemeClr>
                </a:solidFill>
                <a:latin typeface="Segoe UI Light"/>
              </a:rPr>
              <a:t>OneDrive</a:t>
            </a:r>
          </a:p>
          <a:p>
            <a:pPr marL="0" indent="0" algn="ctr">
              <a:buNone/>
            </a:pPr>
            <a:r>
              <a:rPr lang="da-DK" sz="3200" dirty="0">
                <a:solidFill>
                  <a:schemeClr val="tx1">
                    <a:lumMod val="65000"/>
                    <a:lumOff val="35000"/>
                  </a:schemeClr>
                </a:solidFill>
                <a:latin typeface="Segoe UI Light"/>
              </a:rPr>
              <a:t>Individniveau</a:t>
            </a:r>
          </a:p>
          <a:p>
            <a:pPr marL="0" indent="0" algn="ctr">
              <a:buNone/>
            </a:pPr>
            <a:r>
              <a:rPr lang="da-DK" sz="3200" dirty="0">
                <a:solidFill>
                  <a:schemeClr val="tx1">
                    <a:lumMod val="65000"/>
                    <a:lumOff val="35000"/>
                  </a:schemeClr>
                </a:solidFill>
                <a:latin typeface="Segoe UI Light"/>
              </a:rPr>
              <a:t>Ad-hoc deling</a:t>
            </a:r>
          </a:p>
          <a:p>
            <a:pPr marL="0" indent="0" algn="ctr">
              <a:buNone/>
            </a:pPr>
            <a:r>
              <a:rPr lang="da-DK" sz="3200" dirty="0">
                <a:solidFill>
                  <a:schemeClr val="tx1">
                    <a:lumMod val="65000"/>
                    <a:lumOff val="35000"/>
                  </a:schemeClr>
                </a:solidFill>
                <a:latin typeface="Segoe UI Light"/>
              </a:rPr>
              <a:t>Filer ejes individuelt</a:t>
            </a:r>
          </a:p>
        </p:txBody>
      </p:sp>
      <p:pic>
        <p:nvPicPr>
          <p:cNvPr id="10" name="Billede 9"/>
          <p:cNvPicPr>
            <a:picLocks noChangeAspect="1"/>
          </p:cNvPicPr>
          <p:nvPr/>
        </p:nvPicPr>
        <p:blipFill rotWithShape="1">
          <a:blip r:embed="rId5">
            <a:extLst>
              <a:ext uri="{28A0092B-C50C-407E-A947-70E740481C1C}">
                <a14:useLocalDpi xmlns:a14="http://schemas.microsoft.com/office/drawing/2010/main" val="0"/>
              </a:ext>
            </a:extLst>
          </a:blip>
          <a:srcRect l="4329" r="8557" b="8940"/>
          <a:stretch/>
        </p:blipFill>
        <p:spPr>
          <a:xfrm>
            <a:off x="8149546" y="1909300"/>
            <a:ext cx="3763735" cy="2367645"/>
          </a:xfrm>
          <a:prstGeom prst="rect">
            <a:avLst/>
          </a:prstGeom>
        </p:spPr>
      </p:pic>
    </p:spTree>
    <p:extLst>
      <p:ext uri="{BB962C8B-B14F-4D97-AF65-F5344CB8AC3E}">
        <p14:creationId xmlns:p14="http://schemas.microsoft.com/office/powerpoint/2010/main" val="2618653066"/>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lede 1">
            <a:extLst>
              <a:ext uri="{FF2B5EF4-FFF2-40B4-BE49-F238E27FC236}">
                <a16:creationId xmlns:a16="http://schemas.microsoft.com/office/drawing/2014/main" id="{BE341C58-7733-463F-AB54-057C044C1A57}"/>
              </a:ext>
            </a:extLst>
          </p:cNvPr>
          <p:cNvPicPr>
            <a:picLocks noChangeAspect="1"/>
          </p:cNvPicPr>
          <p:nvPr/>
        </p:nvPicPr>
        <p:blipFill rotWithShape="1">
          <a:blip r:embed="rId3"/>
          <a:srcRect t="38148"/>
          <a:stretch/>
        </p:blipFill>
        <p:spPr>
          <a:xfrm>
            <a:off x="352235" y="2295085"/>
            <a:ext cx="11487528" cy="3694246"/>
          </a:xfrm>
          <a:prstGeom prst="rect">
            <a:avLst/>
          </a:prstGeom>
        </p:spPr>
      </p:pic>
      <p:sp>
        <p:nvSpPr>
          <p:cNvPr id="4" name="Title 1">
            <a:extLst>
              <a:ext uri="{FF2B5EF4-FFF2-40B4-BE49-F238E27FC236}">
                <a16:creationId xmlns:a16="http://schemas.microsoft.com/office/drawing/2014/main" id="{B33DE3CA-7028-4E27-BF20-39B7192707A7}"/>
              </a:ext>
            </a:extLst>
          </p:cNvPr>
          <p:cNvSpPr>
            <a:spLocks noGrp="1"/>
          </p:cNvSpPr>
          <p:nvPr>
            <p:ph type="ctrTitle"/>
          </p:nvPr>
        </p:nvSpPr>
        <p:spPr>
          <a:xfrm>
            <a:off x="117131" y="35032"/>
            <a:ext cx="11872958" cy="1667273"/>
          </a:xfrm>
        </p:spPr>
        <p:txBody>
          <a:bodyPr>
            <a:noAutofit/>
          </a:bodyPr>
          <a:lstStyle/>
          <a:p>
            <a:r>
              <a:rPr lang="da-DK" sz="6600" b="1" dirty="0">
                <a:solidFill>
                  <a:srgbClr val="D24726"/>
                </a:solidFill>
                <a:latin typeface="Segoe UI Light" panose="020B0502040204020203" pitchFamily="34" charset="0"/>
                <a:cs typeface="Segoe UI Light" panose="020B0502040204020203" pitchFamily="34" charset="0"/>
              </a:rPr>
              <a:t>Gratis onlinekurser – på dansk!</a:t>
            </a:r>
            <a:endParaRPr lang="da-DK" b="1" dirty="0">
              <a:solidFill>
                <a:srgbClr val="D24726"/>
              </a:solidFill>
              <a:latin typeface="Segoe UI Light" panose="020B0502040204020203" pitchFamily="34" charset="0"/>
              <a:cs typeface="Segoe UI Light" panose="020B0502040204020203" pitchFamily="34" charset="0"/>
            </a:endParaRPr>
          </a:p>
        </p:txBody>
      </p:sp>
      <mc:AlternateContent xmlns:mc="http://schemas.openxmlformats.org/markup-compatibility/2006" xmlns:p14="http://schemas.microsoft.com/office/powerpoint/2010/main">
        <mc:Choice Requires="p14">
          <p:contentPart p14:bwMode="auto" r:id="rId4">
            <p14:nvContentPartPr>
              <p14:cNvPr id="30" name="Ink 29">
                <a:extLst>
                  <a:ext uri="{FF2B5EF4-FFF2-40B4-BE49-F238E27FC236}">
                    <a16:creationId xmlns:a16="http://schemas.microsoft.com/office/drawing/2014/main" id="{EAED5504-3729-4B9A-B05A-BA2F95E86BED}"/>
                  </a:ext>
                </a:extLst>
              </p14:cNvPr>
              <p14:cNvContentPartPr/>
              <p14:nvPr/>
            </p14:nvContentPartPr>
            <p14:xfrm>
              <a:off x="914815" y="1732084"/>
              <a:ext cx="78480" cy="60840"/>
            </p14:xfrm>
          </p:contentPart>
        </mc:Choice>
        <mc:Fallback xmlns="">
          <p:pic>
            <p:nvPicPr>
              <p:cNvPr id="30" name="Ink 29">
                <a:extLst>
                  <a:ext uri="{FF2B5EF4-FFF2-40B4-BE49-F238E27FC236}">
                    <a16:creationId xmlns:a16="http://schemas.microsoft.com/office/drawing/2014/main" id="{EAED5504-3729-4B9A-B05A-BA2F95E86BED}"/>
                  </a:ext>
                </a:extLst>
              </p:cNvPr>
              <p:cNvPicPr/>
              <p:nvPr/>
            </p:nvPicPr>
            <p:blipFill>
              <a:blip r:embed="rId5"/>
              <a:stretch>
                <a:fillRect/>
              </a:stretch>
            </p:blipFill>
            <p:spPr>
              <a:xfrm>
                <a:off x="356095" y="1171204"/>
                <a:ext cx="3640320" cy="3086280"/>
              </a:xfrm>
              <a:prstGeom prst="rect">
                <a:avLst/>
              </a:prstGeom>
            </p:spPr>
          </p:pic>
        </mc:Fallback>
      </mc:AlternateContent>
    </p:spTree>
    <p:extLst>
      <p:ext uri="{BB962C8B-B14F-4D97-AF65-F5344CB8AC3E}">
        <p14:creationId xmlns:p14="http://schemas.microsoft.com/office/powerpoint/2010/main" val="1198547680"/>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2340161"/>
            <a:ext cx="12255499" cy="3811219"/>
          </a:xfrm>
        </p:spPr>
        <p:txBody>
          <a:bodyPr>
            <a:normAutofit fontScale="90000"/>
          </a:bodyPr>
          <a:lstStyle/>
          <a:p>
            <a:r>
              <a:rPr lang="da-DK" sz="8900" dirty="0">
                <a:latin typeface="Segoe UI Light" panose="020B0502040204020203" pitchFamily="34" charset="0"/>
                <a:cs typeface="Segoe UI Light" panose="020B0502040204020203" pitchFamily="34" charset="0"/>
              </a:rPr>
              <a:t>Microsofts Education-portal</a:t>
            </a:r>
            <a:br>
              <a:rPr lang="da-DK" sz="8900" dirty="0">
                <a:latin typeface="Segoe UI Light" panose="020B0502040204020203" pitchFamily="34" charset="0"/>
                <a:cs typeface="Segoe UI Light" panose="020B0502040204020203" pitchFamily="34" charset="0"/>
              </a:rPr>
            </a:br>
            <a:r>
              <a:rPr lang="da-DK" sz="8900" u="sng" dirty="0">
                <a:latin typeface="Segoe UI Light" panose="020B0502040204020203" pitchFamily="34" charset="0"/>
                <a:cs typeface="Segoe UI Light" panose="020B0502040204020203" pitchFamily="34" charset="0"/>
                <a:hlinkClick r:id="rId3"/>
              </a:rPr>
              <a:t>www.aka.ms/blivMIE</a:t>
            </a:r>
            <a:r>
              <a:rPr lang="da-DK" sz="8900" u="sng" dirty="0">
                <a:latin typeface="Segoe UI Light" panose="020B0502040204020203" pitchFamily="34" charset="0"/>
                <a:cs typeface="Segoe UI Light" panose="020B0502040204020203" pitchFamily="34" charset="0"/>
              </a:rPr>
              <a:t>  </a:t>
            </a:r>
            <a:br>
              <a:rPr lang="da-DK" sz="8800" u="sng" dirty="0">
                <a:latin typeface="Segoe UI Light" panose="020B0502040204020203" pitchFamily="34" charset="0"/>
                <a:cs typeface="Segoe UI Light" panose="020B0502040204020203" pitchFamily="34" charset="0"/>
              </a:rPr>
            </a:br>
            <a:br>
              <a:rPr lang="da-DK" sz="6600" u="sng" dirty="0">
                <a:latin typeface="Segoe UI Light" panose="020B0502040204020203" pitchFamily="34" charset="0"/>
                <a:cs typeface="Segoe UI Light" panose="020B0502040204020203" pitchFamily="34" charset="0"/>
              </a:rPr>
            </a:br>
            <a:r>
              <a:rPr lang="da-DK" sz="7200" dirty="0">
                <a:latin typeface="Segoe UI Light" panose="020B0502040204020203" pitchFamily="34" charset="0"/>
                <a:cs typeface="Segoe UI Light" panose="020B0502040204020203" pitchFamily="34" charset="0"/>
              </a:rPr>
              <a:t>Opret profil med </a:t>
            </a:r>
            <a:r>
              <a:rPr lang="da-DK" sz="7200" b="1" dirty="0">
                <a:solidFill>
                  <a:srgbClr val="D24726"/>
                </a:solidFill>
                <a:latin typeface="Segoe UI Light" panose="020B0502040204020203" pitchFamily="34" charset="0"/>
                <a:cs typeface="Segoe UI Light" panose="020B0502040204020203" pitchFamily="34" charset="0"/>
              </a:rPr>
              <a:t>Office 365</a:t>
            </a:r>
            <a:br>
              <a:rPr lang="da-DK" sz="7200" b="1" dirty="0">
                <a:solidFill>
                  <a:srgbClr val="D24726"/>
                </a:solidFill>
                <a:latin typeface="Segoe UI Light" panose="020B0502040204020203" pitchFamily="34" charset="0"/>
                <a:cs typeface="Segoe UI Light" panose="020B0502040204020203" pitchFamily="34" charset="0"/>
              </a:rPr>
            </a:br>
            <a:r>
              <a:rPr lang="da-DK" sz="7200" dirty="0">
                <a:latin typeface="Segoe UI Light" panose="020B0502040204020203" pitchFamily="34" charset="0"/>
                <a:cs typeface="Segoe UI Light" panose="020B0502040204020203" pitchFamily="34" charset="0"/>
              </a:rPr>
              <a:t>og koden </a:t>
            </a:r>
            <a:r>
              <a:rPr lang="en-US" sz="7200" b="1" dirty="0">
                <a:latin typeface="Segoe UI Light" panose="020B0502040204020203" pitchFamily="34" charset="0"/>
                <a:cs typeface="Segoe UI Light" panose="020B0502040204020203" pitchFamily="34" charset="0"/>
              </a:rPr>
              <a:t>ECQV6X9TDFY2018</a:t>
            </a:r>
            <a:endParaRPr lang="da-DK" sz="7200" b="1" dirty="0">
              <a:solidFill>
                <a:srgbClr val="D24726"/>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417445123"/>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93513" y="2709891"/>
            <a:ext cx="10333131" cy="1325218"/>
          </a:xfrm>
        </p:spPr>
        <p:txBody>
          <a:bodyPr>
            <a:noAutofit/>
          </a:bodyPr>
          <a:lstStyle/>
          <a:p>
            <a:r>
              <a:rPr lang="da-DK" sz="7200" b="1" dirty="0">
                <a:solidFill>
                  <a:schemeClr val="tx1">
                    <a:lumMod val="75000"/>
                    <a:lumOff val="25000"/>
                  </a:schemeClr>
                </a:solidFill>
                <a:latin typeface="Segoe UI Light" panose="020B0502040204020203" pitchFamily="34" charset="0"/>
                <a:cs typeface="Segoe UI Light" panose="020B0502040204020203" pitchFamily="34" charset="0"/>
              </a:rPr>
              <a:t>Hvorfor Teams?</a:t>
            </a:r>
            <a:br>
              <a:rPr lang="da-DK" sz="7200" dirty="0">
                <a:solidFill>
                  <a:schemeClr val="tx1">
                    <a:lumMod val="75000"/>
                    <a:lumOff val="25000"/>
                  </a:schemeClr>
                </a:solidFill>
                <a:latin typeface="Segoe UI Light" panose="020B0502040204020203" pitchFamily="34" charset="0"/>
                <a:cs typeface="Segoe UI Light" panose="020B0502040204020203" pitchFamily="34" charset="0"/>
              </a:rPr>
            </a:br>
            <a:r>
              <a:rPr lang="da-DK" sz="6000" i="1" dirty="0">
                <a:solidFill>
                  <a:schemeClr val="tx1">
                    <a:lumMod val="75000"/>
                    <a:lumOff val="25000"/>
                  </a:schemeClr>
                </a:solidFill>
                <a:latin typeface="Segoe UI Light" panose="020B0502040204020203" pitchFamily="34" charset="0"/>
                <a:cs typeface="Segoe UI Light" panose="020B0502040204020203" pitchFamily="34" charset="0"/>
              </a:rPr>
              <a:t>* Spar tid i hverdagen</a:t>
            </a:r>
            <a:br>
              <a:rPr lang="da-DK" sz="6000" i="1" dirty="0">
                <a:solidFill>
                  <a:schemeClr val="tx1">
                    <a:lumMod val="75000"/>
                    <a:lumOff val="25000"/>
                  </a:schemeClr>
                </a:solidFill>
                <a:latin typeface="Segoe UI Light" panose="020B0502040204020203" pitchFamily="34" charset="0"/>
                <a:cs typeface="Segoe UI Light" panose="020B0502040204020203" pitchFamily="34" charset="0"/>
              </a:rPr>
            </a:br>
            <a:r>
              <a:rPr lang="da-DK" sz="6000" i="1" dirty="0">
                <a:solidFill>
                  <a:schemeClr val="tx1">
                    <a:lumMod val="75000"/>
                    <a:lumOff val="25000"/>
                  </a:schemeClr>
                </a:solidFill>
                <a:latin typeface="Segoe UI Light" panose="020B0502040204020203" pitchFamily="34" charset="0"/>
                <a:cs typeface="Segoe UI Light" panose="020B0502040204020203" pitchFamily="34" charset="0"/>
              </a:rPr>
              <a:t>* Bedre samarbejde</a:t>
            </a:r>
            <a:br>
              <a:rPr lang="da-DK" sz="6000" i="1" dirty="0">
                <a:solidFill>
                  <a:schemeClr val="tx1">
                    <a:lumMod val="75000"/>
                    <a:lumOff val="25000"/>
                  </a:schemeClr>
                </a:solidFill>
                <a:latin typeface="Segoe UI Light" panose="020B0502040204020203" pitchFamily="34" charset="0"/>
                <a:cs typeface="Segoe UI Light" panose="020B0502040204020203" pitchFamily="34" charset="0"/>
              </a:rPr>
            </a:br>
            <a:r>
              <a:rPr lang="da-DK" sz="6000" i="1" dirty="0">
                <a:solidFill>
                  <a:schemeClr val="tx1">
                    <a:lumMod val="75000"/>
                    <a:lumOff val="25000"/>
                  </a:schemeClr>
                </a:solidFill>
                <a:latin typeface="Segoe UI Light" panose="020B0502040204020203" pitchFamily="34" charset="0"/>
                <a:cs typeface="Segoe UI Light" panose="020B0502040204020203" pitchFamily="34" charset="0"/>
              </a:rPr>
              <a:t>* Eleverne aktiveres mere</a:t>
            </a:r>
            <a:endParaRPr lang="da-DK" sz="7200" i="1" dirty="0">
              <a:solidFill>
                <a:schemeClr val="tx1">
                  <a:lumMod val="75000"/>
                  <a:lumOff val="25000"/>
                </a:schemeClr>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022769046"/>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4360" y="308696"/>
            <a:ext cx="11655840" cy="899665"/>
          </a:xfrm>
        </p:spPr>
        <p:txBody>
          <a:bodyPr/>
          <a:lstStyle/>
          <a:p>
            <a:pPr lvl="0"/>
            <a:r>
              <a:rPr lang="da-DK" sz="6000" b="1" dirty="0">
                <a:latin typeface="Segoe UI Light" panose="020B0502040204020203" pitchFamily="34" charset="0"/>
                <a:cs typeface="Segoe UI Light" panose="020B0502040204020203" pitchFamily="34" charset="0"/>
              </a:rPr>
              <a:t>Opbygning af Teams</a:t>
            </a:r>
          </a:p>
        </p:txBody>
      </p:sp>
      <p:graphicFrame>
        <p:nvGraphicFramePr>
          <p:cNvPr id="3" name="Diagram 2">
            <a:extLst>
              <a:ext uri="{FF2B5EF4-FFF2-40B4-BE49-F238E27FC236}">
                <a16:creationId xmlns:a16="http://schemas.microsoft.com/office/drawing/2014/main" id="{7A66624D-E80B-4809-8FC7-01321BFE5F56}"/>
              </a:ext>
            </a:extLst>
          </p:cNvPr>
          <p:cNvGraphicFramePr/>
          <p:nvPr>
            <p:extLst>
              <p:ext uri="{D42A27DB-BD31-4B8C-83A1-F6EECF244321}">
                <p14:modId xmlns:p14="http://schemas.microsoft.com/office/powerpoint/2010/main" val="38836798"/>
              </p:ext>
            </p:extLst>
          </p:nvPr>
        </p:nvGraphicFramePr>
        <p:xfrm>
          <a:off x="431800" y="717938"/>
          <a:ext cx="10947400" cy="59940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Billede 5">
            <a:extLst>
              <a:ext uri="{FF2B5EF4-FFF2-40B4-BE49-F238E27FC236}">
                <a16:creationId xmlns:a16="http://schemas.microsoft.com/office/drawing/2014/main" id="{4C605012-9B7B-4090-95F2-DF84C8AD8C1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550191" y="752047"/>
            <a:ext cx="912629" cy="912629"/>
          </a:xfrm>
          <a:prstGeom prst="rect">
            <a:avLst/>
          </a:prstGeom>
        </p:spPr>
      </p:pic>
      <p:pic>
        <p:nvPicPr>
          <p:cNvPr id="8" name="Billede 7">
            <a:extLst>
              <a:ext uri="{FF2B5EF4-FFF2-40B4-BE49-F238E27FC236}">
                <a16:creationId xmlns:a16="http://schemas.microsoft.com/office/drawing/2014/main" id="{46492D63-99C7-48C4-8B04-766B37696E4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593923" y="1770212"/>
            <a:ext cx="825163" cy="825163"/>
          </a:xfrm>
          <a:prstGeom prst="rect">
            <a:avLst/>
          </a:prstGeom>
        </p:spPr>
      </p:pic>
      <p:pic>
        <p:nvPicPr>
          <p:cNvPr id="10" name="Billede 9">
            <a:extLst>
              <a:ext uri="{FF2B5EF4-FFF2-40B4-BE49-F238E27FC236}">
                <a16:creationId xmlns:a16="http://schemas.microsoft.com/office/drawing/2014/main" id="{012C19E5-C357-4DDB-8653-4CB189CD15A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428260" y="2555199"/>
            <a:ext cx="1254553" cy="1254553"/>
          </a:xfrm>
          <a:prstGeom prst="rect">
            <a:avLst/>
          </a:prstGeom>
        </p:spPr>
      </p:pic>
      <p:pic>
        <p:nvPicPr>
          <p:cNvPr id="14" name="Billede 13">
            <a:extLst>
              <a:ext uri="{FF2B5EF4-FFF2-40B4-BE49-F238E27FC236}">
                <a16:creationId xmlns:a16="http://schemas.microsoft.com/office/drawing/2014/main" id="{E412C8E1-B5B5-46BA-9506-AE525B07C16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593923" y="3801787"/>
            <a:ext cx="921677" cy="921677"/>
          </a:xfrm>
          <a:prstGeom prst="rect">
            <a:avLst/>
          </a:prstGeom>
        </p:spPr>
      </p:pic>
      <mc:AlternateContent xmlns:mc="http://schemas.openxmlformats.org/markup-compatibility/2006" xmlns:p14="http://schemas.microsoft.com/office/powerpoint/2010/main">
        <mc:Choice Requires="p14">
          <p:contentPart p14:bwMode="auto" r:id="rId12">
            <p14:nvContentPartPr>
              <p14:cNvPr id="12" name="Håndskrift 11">
                <a:extLst>
                  <a:ext uri="{FF2B5EF4-FFF2-40B4-BE49-F238E27FC236}">
                    <a16:creationId xmlns:a16="http://schemas.microsoft.com/office/drawing/2014/main" id="{0B8135BA-EE1E-404F-A7CB-24BA362EC5A9}"/>
                  </a:ext>
                </a:extLst>
              </p14:cNvPr>
              <p14:cNvContentPartPr/>
              <p14:nvPr/>
            </p14:nvContentPartPr>
            <p14:xfrm>
              <a:off x="2304348" y="2910190"/>
              <a:ext cx="1357560" cy="838800"/>
            </p14:xfrm>
          </p:contentPart>
        </mc:Choice>
        <mc:Fallback xmlns="">
          <p:pic>
            <p:nvPicPr>
              <p:cNvPr id="12" name="Håndskrift 11">
                <a:extLst>
                  <a:ext uri="{FF2B5EF4-FFF2-40B4-BE49-F238E27FC236}">
                    <a16:creationId xmlns:a16="http://schemas.microsoft.com/office/drawing/2014/main" id="{0B8135BA-EE1E-404F-A7CB-24BA362EC5A9}"/>
                  </a:ext>
                </a:extLst>
              </p:cNvPr>
              <p:cNvPicPr/>
              <p:nvPr/>
            </p:nvPicPr>
            <p:blipFill>
              <a:blip r:embed="rId13"/>
              <a:stretch>
                <a:fillRect/>
              </a:stretch>
            </p:blipFill>
            <p:spPr>
              <a:xfrm>
                <a:off x="2286353" y="2892550"/>
                <a:ext cx="1393191" cy="87444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8" name="Håndskrift 17">
                <a:extLst>
                  <a:ext uri="{FF2B5EF4-FFF2-40B4-BE49-F238E27FC236}">
                    <a16:creationId xmlns:a16="http://schemas.microsoft.com/office/drawing/2014/main" id="{D13E9504-D98C-4662-A799-0260A6BD6B37}"/>
                  </a:ext>
                </a:extLst>
              </p14:cNvPr>
              <p14:cNvContentPartPr/>
              <p14:nvPr/>
            </p14:nvContentPartPr>
            <p14:xfrm>
              <a:off x="5904348" y="1663510"/>
              <a:ext cx="91080" cy="190440"/>
            </p14:xfrm>
          </p:contentPart>
        </mc:Choice>
        <mc:Fallback xmlns="">
          <p:pic>
            <p:nvPicPr>
              <p:cNvPr id="18" name="Håndskrift 17">
                <a:extLst>
                  <a:ext uri="{FF2B5EF4-FFF2-40B4-BE49-F238E27FC236}">
                    <a16:creationId xmlns:a16="http://schemas.microsoft.com/office/drawing/2014/main" id="{D13E9504-D98C-4662-A799-0260A6BD6B37}"/>
                  </a:ext>
                </a:extLst>
              </p:cNvPr>
              <p:cNvPicPr/>
              <p:nvPr/>
            </p:nvPicPr>
            <p:blipFill>
              <a:blip r:embed="rId15"/>
              <a:stretch>
                <a:fillRect/>
              </a:stretch>
            </p:blipFill>
            <p:spPr>
              <a:xfrm>
                <a:off x="5886348" y="1645870"/>
                <a:ext cx="126720" cy="22608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19" name="Håndskrift 18">
                <a:extLst>
                  <a:ext uri="{FF2B5EF4-FFF2-40B4-BE49-F238E27FC236}">
                    <a16:creationId xmlns:a16="http://schemas.microsoft.com/office/drawing/2014/main" id="{E6B198A2-3856-4BDC-85B7-751A8A317EE9}"/>
                  </a:ext>
                </a:extLst>
              </p14:cNvPr>
              <p14:cNvContentPartPr/>
              <p14:nvPr/>
            </p14:nvContentPartPr>
            <p14:xfrm>
              <a:off x="6143748" y="1389550"/>
              <a:ext cx="49680" cy="449280"/>
            </p14:xfrm>
          </p:contentPart>
        </mc:Choice>
        <mc:Fallback xmlns="">
          <p:pic>
            <p:nvPicPr>
              <p:cNvPr id="19" name="Håndskrift 18">
                <a:extLst>
                  <a:ext uri="{FF2B5EF4-FFF2-40B4-BE49-F238E27FC236}">
                    <a16:creationId xmlns:a16="http://schemas.microsoft.com/office/drawing/2014/main" id="{E6B198A2-3856-4BDC-85B7-751A8A317EE9}"/>
                  </a:ext>
                </a:extLst>
              </p:cNvPr>
              <p:cNvPicPr/>
              <p:nvPr/>
            </p:nvPicPr>
            <p:blipFill>
              <a:blip r:embed="rId17"/>
              <a:stretch>
                <a:fillRect/>
              </a:stretch>
            </p:blipFill>
            <p:spPr>
              <a:xfrm>
                <a:off x="6125748" y="1371910"/>
                <a:ext cx="85320" cy="48492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20" name="Håndskrift 19">
                <a:extLst>
                  <a:ext uri="{FF2B5EF4-FFF2-40B4-BE49-F238E27FC236}">
                    <a16:creationId xmlns:a16="http://schemas.microsoft.com/office/drawing/2014/main" id="{5705964B-BC37-4C11-8AE8-030F9577866B}"/>
                  </a:ext>
                </a:extLst>
              </p14:cNvPr>
              <p14:cNvContentPartPr/>
              <p14:nvPr/>
            </p14:nvContentPartPr>
            <p14:xfrm>
              <a:off x="5119548" y="1469830"/>
              <a:ext cx="677880" cy="554040"/>
            </p14:xfrm>
          </p:contentPart>
        </mc:Choice>
        <mc:Fallback xmlns="">
          <p:pic>
            <p:nvPicPr>
              <p:cNvPr id="20" name="Håndskrift 19">
                <a:extLst>
                  <a:ext uri="{FF2B5EF4-FFF2-40B4-BE49-F238E27FC236}">
                    <a16:creationId xmlns:a16="http://schemas.microsoft.com/office/drawing/2014/main" id="{5705964B-BC37-4C11-8AE8-030F9577866B}"/>
                  </a:ext>
                </a:extLst>
              </p:cNvPr>
              <p:cNvPicPr/>
              <p:nvPr/>
            </p:nvPicPr>
            <p:blipFill>
              <a:blip r:embed="rId19"/>
              <a:stretch>
                <a:fillRect/>
              </a:stretch>
            </p:blipFill>
            <p:spPr>
              <a:xfrm>
                <a:off x="5101908" y="1452190"/>
                <a:ext cx="713520" cy="58968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26" name="Håndskrift 25">
                <a:extLst>
                  <a:ext uri="{FF2B5EF4-FFF2-40B4-BE49-F238E27FC236}">
                    <a16:creationId xmlns:a16="http://schemas.microsoft.com/office/drawing/2014/main" id="{EEA24BFC-0D9E-4EE5-B578-B252B8FBF07C}"/>
                  </a:ext>
                </a:extLst>
              </p14:cNvPr>
              <p14:cNvContentPartPr/>
              <p14:nvPr/>
            </p14:nvContentPartPr>
            <p14:xfrm>
              <a:off x="7598868" y="42430"/>
              <a:ext cx="1450800" cy="542880"/>
            </p14:xfrm>
          </p:contentPart>
        </mc:Choice>
        <mc:Fallback xmlns="">
          <p:pic>
            <p:nvPicPr>
              <p:cNvPr id="26" name="Håndskrift 25">
                <a:extLst>
                  <a:ext uri="{FF2B5EF4-FFF2-40B4-BE49-F238E27FC236}">
                    <a16:creationId xmlns:a16="http://schemas.microsoft.com/office/drawing/2014/main" id="{EEA24BFC-0D9E-4EE5-B578-B252B8FBF07C}"/>
                  </a:ext>
                </a:extLst>
              </p:cNvPr>
              <p:cNvPicPr/>
              <p:nvPr/>
            </p:nvPicPr>
            <p:blipFill>
              <a:blip r:embed="rId21"/>
              <a:stretch>
                <a:fillRect/>
              </a:stretch>
            </p:blipFill>
            <p:spPr>
              <a:xfrm>
                <a:off x="7580872" y="24442"/>
                <a:ext cx="1486431" cy="578496"/>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103" name="Ink 102">
                <a:extLst>
                  <a:ext uri="{FF2B5EF4-FFF2-40B4-BE49-F238E27FC236}">
                    <a16:creationId xmlns:a16="http://schemas.microsoft.com/office/drawing/2014/main" id="{4B67E65C-1571-4335-87E0-002A90B4817D}"/>
                  </a:ext>
                </a:extLst>
              </p14:cNvPr>
              <p14:cNvContentPartPr/>
              <p14:nvPr/>
            </p14:nvContentPartPr>
            <p14:xfrm>
              <a:off x="5372353" y="5069192"/>
              <a:ext cx="6225480" cy="548640"/>
            </p14:xfrm>
          </p:contentPart>
        </mc:Choice>
        <mc:Fallback xmlns="">
          <p:pic>
            <p:nvPicPr>
              <p:cNvPr id="103" name="Ink 102">
                <a:extLst>
                  <a:ext uri="{FF2B5EF4-FFF2-40B4-BE49-F238E27FC236}">
                    <a16:creationId xmlns:a16="http://schemas.microsoft.com/office/drawing/2014/main" id="{4B67E65C-1571-4335-87E0-002A90B4817D}"/>
                  </a:ext>
                </a:extLst>
              </p:cNvPr>
              <p:cNvPicPr/>
              <p:nvPr/>
            </p:nvPicPr>
            <p:blipFill>
              <a:blip r:embed="rId23"/>
              <a:stretch>
                <a:fillRect/>
              </a:stretch>
            </p:blipFill>
            <p:spPr>
              <a:xfrm>
                <a:off x="1603153" y="546512"/>
                <a:ext cx="10114013" cy="6301620"/>
              </a:xfrm>
              <a:prstGeom prst="rect">
                <a:avLst/>
              </a:prstGeom>
            </p:spPr>
          </p:pic>
        </mc:Fallback>
      </mc:AlternateContent>
    </p:spTree>
    <p:extLst>
      <p:ext uri="{BB962C8B-B14F-4D97-AF65-F5344CB8AC3E}">
        <p14:creationId xmlns:p14="http://schemas.microsoft.com/office/powerpoint/2010/main" val="477300647"/>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2508" y="321660"/>
            <a:ext cx="11655840" cy="899665"/>
          </a:xfrm>
        </p:spPr>
        <p:txBody>
          <a:bodyPr/>
          <a:lstStyle/>
          <a:p>
            <a:pPr lvl="0"/>
            <a:r>
              <a:rPr lang="da-DK" sz="6000" b="1" dirty="0">
                <a:latin typeface="Segoe UI Light" panose="020B0502040204020203" pitchFamily="34" charset="0"/>
                <a:cs typeface="Segoe UI Light" panose="020B0502040204020203" pitchFamily="34" charset="0"/>
              </a:rPr>
              <a:t>Opbygning af Teams</a:t>
            </a:r>
          </a:p>
        </p:txBody>
      </p:sp>
      <p:pic>
        <p:nvPicPr>
          <p:cNvPr id="4" name="Billede 3">
            <a:extLst>
              <a:ext uri="{FF2B5EF4-FFF2-40B4-BE49-F238E27FC236}">
                <a16:creationId xmlns:a16="http://schemas.microsoft.com/office/drawing/2014/main" id="{472A17EB-634C-442F-B6C9-0B6DD85A14A6}"/>
              </a:ext>
            </a:extLst>
          </p:cNvPr>
          <p:cNvPicPr>
            <a:picLocks noChangeAspect="1"/>
          </p:cNvPicPr>
          <p:nvPr/>
        </p:nvPicPr>
        <p:blipFill>
          <a:blip r:embed="rId3"/>
          <a:stretch>
            <a:fillRect/>
          </a:stretch>
        </p:blipFill>
        <p:spPr>
          <a:xfrm>
            <a:off x="715924" y="1596874"/>
            <a:ext cx="9725247" cy="4776559"/>
          </a:xfrm>
          <a:prstGeom prst="rect">
            <a:avLst/>
          </a:prstGeom>
        </p:spPr>
      </p:pic>
    </p:spTree>
    <p:extLst>
      <p:ext uri="{BB962C8B-B14F-4D97-AF65-F5344CB8AC3E}">
        <p14:creationId xmlns:p14="http://schemas.microsoft.com/office/powerpoint/2010/main" val="11109826"/>
      </p:ext>
    </p:extLst>
  </p:cSld>
  <p:clrMapOvr>
    <a:masterClrMapping/>
  </p:clrMapOvr>
  <mc:AlternateContent xmlns:mc="http://schemas.openxmlformats.org/markup-compatibility/2006" xmlns:p14="http://schemas.microsoft.com/office/powerpoint/2010/main">
    <mc:Choice Requires="p14">
      <p:transition spd="slow" p14:dur="59000"/>
    </mc:Choice>
    <mc:Fallback xmlns="">
      <p:transition spd="slow"/>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THENA.CUSTOMXMLID" val="{2BC0C3A5-1FBE-42CC-8C49-B9C36DFC7C1B}"/>
  <p:tag name="ATHENA.CUSTOMXMLCONTENT" val="&lt;?xml version=&quot;1.0&quot;?&gt;&lt;athena xmlns=&quot;http://schemas.microsoft.com/edu/athena&quot; version=&quot;0.1.2681.0&quot;&gt;&lt;timings duration=&quot;22192&quot;/&gt;&lt;/athena&gt;"/>
</p:tagLst>
</file>

<file path=ppt/tags/tag3.xml><?xml version="1.0" encoding="utf-8"?>
<p:tagLst xmlns:a="http://schemas.openxmlformats.org/drawingml/2006/main" xmlns:r="http://schemas.openxmlformats.org/officeDocument/2006/relationships" xmlns:p="http://schemas.openxmlformats.org/presentationml/2006/main">
  <p:tag name="ATHENA.CUSTOMXMLID" val="{2BC0C3A5-1FBE-42CC-8C49-B9C36DFC7C1B}"/>
  <p:tag name="ATHENA.CUSTOMXMLCONTENT" val="&lt;?xml version=&quot;1.0&quot;?&gt;&lt;athena xmlns=&quot;http://schemas.microsoft.com/edu/athena&quot; version=&quot;0.1.2681.0&quot;&gt;&lt;timings duration=&quot;22192&quot;/&gt;&lt;/athena&gt;"/>
</p:tagLst>
</file>

<file path=ppt/tags/tag4.xml><?xml version="1.0" encoding="utf-8"?>
<p:tagLst xmlns:a="http://schemas.openxmlformats.org/drawingml/2006/main" xmlns:r="http://schemas.openxmlformats.org/officeDocument/2006/relationships" xmlns:p="http://schemas.openxmlformats.org/presentationml/2006/main">
  <p:tag name="ATHENA.CUSTOMXMLID" val="{2BC0C3A5-1FBE-42CC-8C49-B9C36DFC7C1B}"/>
  <p:tag name="ATHENA.CUSTOMXMLCONTENT" val="&lt;?xml version=&quot;1.0&quot;?&gt;&lt;athena xmlns=&quot;http://schemas.microsoft.com/edu/athena&quot; version=&quot;0.1.2681.0&quot;&gt;&lt;timings duration=&quot;22192&quot;/&gt;&lt;/athena&gt;"/>
</p:tagLst>
</file>

<file path=ppt/tags/tag5.xml><?xml version="1.0" encoding="utf-8"?>
<p:tagLst xmlns:a="http://schemas.openxmlformats.org/drawingml/2006/main" xmlns:r="http://schemas.openxmlformats.org/officeDocument/2006/relationships" xmlns:p="http://schemas.openxmlformats.org/presentationml/2006/main">
  <p:tag name="ATHENA.CUSTOMXMLID" val="{2BC0C3A5-1FBE-42CC-8C49-B9C36DFC7C1B}"/>
  <p:tag name="ATHENA.CUSTOMXMLCONTENT" val="&lt;?xml version=&quot;1.0&quot;?&gt;&lt;athena xmlns=&quot;http://schemas.microsoft.com/edu/athena&quot; version=&quot;0.1.2681.0&quot;&gt;&lt;timings duration=&quot;22192&quot;/&gt;&lt;/athena&gt;"/>
</p:tagLst>
</file>

<file path=ppt/tags/tag6.xml><?xml version="1.0" encoding="utf-8"?>
<p:tagLst xmlns:a="http://schemas.openxmlformats.org/drawingml/2006/main" xmlns:r="http://schemas.openxmlformats.org/officeDocument/2006/relationships" xmlns:p="http://schemas.openxmlformats.org/presentationml/2006/main">
  <p:tag name="ATHENA.CUSTOMXMLID" val="{2BC0C3A5-1FBE-42CC-8C49-B9C36DFC7C1B}"/>
  <p:tag name="ATHENA.CUSTOMXMLCONTENT" val="&lt;?xml version=&quot;1.0&quot;?&gt;&lt;athena xmlns=&quot;http://schemas.microsoft.com/edu/athena&quot; version=&quot;0.1.2681.0&quot;&gt;&lt;timings duration=&quot;22192&quot;/&gt;&lt;/athena&gt;"/>
</p:tagLst>
</file>

<file path=ppt/tags/tag7.xml><?xml version="1.0" encoding="utf-8"?>
<p:tagLst xmlns:a="http://schemas.openxmlformats.org/drawingml/2006/main" xmlns:r="http://schemas.openxmlformats.org/officeDocument/2006/relationships" xmlns:p="http://schemas.openxmlformats.org/presentationml/2006/main">
  <p:tag name="ATHENA.CUSTOMXMLID" val="{2BC0C3A5-1FBE-42CC-8C49-B9C36DFC7C1B}"/>
  <p:tag name="ATHENA.CUSTOMXMLCONTENT" val="&lt;?xml version=&quot;1.0&quot;?&gt;&lt;athena xmlns=&quot;http://schemas.microsoft.com/edu/athena&quot; version=&quot;0.1.2681.0&quot;&gt;&lt;timings duration=&quot;22192&quot;/&gt;&lt;/athena&gt;"/>
</p:tagLst>
</file>

<file path=ppt/theme/theme1.xml><?xml version="1.0" encoding="utf-8"?>
<a:theme xmlns:a="http://schemas.openxmlformats.org/drawingml/2006/main" name="MS Education">
  <a:themeElements>
    <a:clrScheme name="Microsoft Education 2017">
      <a:dk1>
        <a:srgbClr val="333333"/>
      </a:dk1>
      <a:lt1>
        <a:srgbClr val="FFFFFF"/>
      </a:lt1>
      <a:dk2>
        <a:srgbClr val="0078D7"/>
      </a:dk2>
      <a:lt2>
        <a:srgbClr val="FFFFFF"/>
      </a:lt2>
      <a:accent1>
        <a:srgbClr val="007872"/>
      </a:accent1>
      <a:accent2>
        <a:srgbClr val="FFB900"/>
      </a:accent2>
      <a:accent3>
        <a:srgbClr val="00BCF2"/>
      </a:accent3>
      <a:accent4>
        <a:srgbClr val="00B294"/>
      </a:accent4>
      <a:accent5>
        <a:srgbClr val="BAD80A"/>
      </a:accent5>
      <a:accent6>
        <a:srgbClr val="FF8C00"/>
      </a:accent6>
      <a:hlink>
        <a:srgbClr val="00188F"/>
      </a:hlink>
      <a:folHlink>
        <a:srgbClr val="5C2D91"/>
      </a:folHlink>
    </a:clrScheme>
    <a:fontScheme name="Custom 1">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00BCF2"/>
          </a:solidFill>
          <a:headEnd type="oval" w="med" len="med"/>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solidFill>
              <a:schemeClr val="tx2"/>
            </a:solidFill>
          </a:defRPr>
        </a:defPPr>
      </a:lstStyle>
    </a:txDef>
  </a:objectDefaults>
  <a:extraClrSchemeLst/>
</a:theme>
</file>

<file path=ppt/theme/theme2.xml><?xml version="1.0" encoding="utf-8"?>
<a:theme xmlns:a="http://schemas.openxmlformats.org/drawingml/2006/main" name="COLOR TEMPLATE">
  <a:themeElements>
    <a:clrScheme name="MSVID Purple">
      <a:dk1>
        <a:srgbClr val="505050"/>
      </a:dk1>
      <a:lt1>
        <a:srgbClr val="FFFFFF"/>
      </a:lt1>
      <a:dk2>
        <a:srgbClr val="5C2D91"/>
      </a:dk2>
      <a:lt2>
        <a:srgbClr val="E7DCF4"/>
      </a:lt2>
      <a:accent1>
        <a:srgbClr val="32145A"/>
      </a:accent1>
      <a:accent2>
        <a:srgbClr val="B4009E"/>
      </a:accent2>
      <a:accent3>
        <a:srgbClr val="107C10"/>
      </a:accent3>
      <a:accent4>
        <a:srgbClr val="0078D7"/>
      </a:accent4>
      <a:accent5>
        <a:srgbClr val="008272"/>
      </a:accent5>
      <a:accent6>
        <a:srgbClr val="D83B01"/>
      </a:accent6>
      <a:hlink>
        <a:srgbClr val="E7DCF4"/>
      </a:hlink>
      <a:folHlink>
        <a:srgbClr val="E7DCF4"/>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PURPLE_1" id="{688BB2E1-3309-453F-B7EE-6B836D34C266}" vid="{B3956E7C-C725-422E-9894-0752553D1E03}"/>
    </a:ext>
  </a:extLst>
</a:theme>
</file>

<file path=ppt/theme/theme3.xml><?xml version="1.0" encoding="utf-8"?>
<a:theme xmlns:a="http://schemas.openxmlformats.org/drawingml/2006/main" name="WHITE TEMPLATE">
  <a:themeElements>
    <a:clrScheme name="MSVID White and Purple">
      <a:dk1>
        <a:srgbClr val="505050"/>
      </a:dk1>
      <a:lt1>
        <a:srgbClr val="FFFFFF"/>
      </a:lt1>
      <a:dk2>
        <a:srgbClr val="5C2D91"/>
      </a:dk2>
      <a:lt2>
        <a:srgbClr val="E7DCF4"/>
      </a:lt2>
      <a:accent1>
        <a:srgbClr val="5C2D91"/>
      </a:accent1>
      <a:accent2>
        <a:srgbClr val="B4009E"/>
      </a:accent2>
      <a:accent3>
        <a:srgbClr val="32145A"/>
      </a:accent3>
      <a:accent4>
        <a:srgbClr val="0078D7"/>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Consumer_PURPLE_1" id="{688BB2E1-3309-453F-B7EE-6B836D34C266}" vid="{BDA1C90E-BD03-4501-8D2B-610540BE7FED}"/>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30055_Office365 Template 2012 - 16x9 - White Background">
  <a:themeElements>
    <a:clrScheme name="Office_Template_2012_Light">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FF8C00"/>
      </a:hlink>
      <a:folHlink>
        <a:srgbClr val="EB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6.xml><?xml version="1.0" encoding="utf-8"?>
<a:theme xmlns:a="http://schemas.openxmlformats.org/drawingml/2006/main" name="9_5-30055_Office Template 2012 - 16x9 - White Background">
  <a:themeElements>
    <a:clrScheme name="Office_Template_2012_Light">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FF8C00"/>
      </a:hlink>
      <a:folHlink>
        <a:srgbClr val="EB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athena xmlns="http://schemas.microsoft.com/edu/athena" version="0.1.2681.0">
  <timings duration="24416"/>
</athena>
</file>

<file path=customXml/item2.xml><?xml version="1.0" encoding="utf-8"?>
<athena xmlns="http://schemas.microsoft.com/edu/athena" version="0.1.2681.0">
  <timings duration="24416"/>
</athena>
</file>

<file path=customXml/item3.xml><?xml version="1.0" encoding="utf-8"?>
<athena xmlns="http://schemas.microsoft.com/edu/athena" version="0.1.2681.0">
  <timings duration="24416"/>
</athena>
</file>

<file path=customXml/item4.xml><?xml version="1.0" encoding="utf-8"?>
<athena xmlns="http://schemas.microsoft.com/edu/athena" version="0.1.2681.0">
  <timings duration="24416"/>
</athena>
</file>

<file path=customXml/item5.xml><?xml version="1.0" encoding="utf-8"?>
<athena xmlns="http://schemas.microsoft.com/edu/athena" version="0.1.2681.0">
  <timings duration="24416"/>
</athena>
</file>

<file path=customXml/item6.xml><?xml version="1.0" encoding="utf-8"?>
<athena xmlns="http://schemas.microsoft.com/edu/athena" version="0.1.2681.0">
  <timings duration="24416"/>
</athena>
</file>

<file path=customXml/item7.xml><?xml version="1.0" encoding="utf-8"?>
<athena xmlns="http://schemas.microsoft.com/edu/athena" version="0.1.2681.0">
  <timings duration="24416"/>
</athena>
</file>

<file path=customXml/itemProps1.xml><?xml version="1.0" encoding="utf-8"?>
<ds:datastoreItem xmlns:ds="http://schemas.openxmlformats.org/officeDocument/2006/customXml" ds:itemID="{C9E621E5-DAB0-47E7-B70D-2B9CFF12B49E}">
  <ds:schemaRefs>
    <ds:schemaRef ds:uri="http://schemas.microsoft.com/edu/athena"/>
  </ds:schemaRefs>
</ds:datastoreItem>
</file>

<file path=customXml/itemProps2.xml><?xml version="1.0" encoding="utf-8"?>
<ds:datastoreItem xmlns:ds="http://schemas.openxmlformats.org/officeDocument/2006/customXml" ds:itemID="{59F5C26E-44F4-44FA-95C9-43682EE5AA75}">
  <ds:schemaRefs>
    <ds:schemaRef ds:uri="http://schemas.microsoft.com/edu/athena"/>
  </ds:schemaRefs>
</ds:datastoreItem>
</file>

<file path=customXml/itemProps3.xml><?xml version="1.0" encoding="utf-8"?>
<ds:datastoreItem xmlns:ds="http://schemas.openxmlformats.org/officeDocument/2006/customXml" ds:itemID="{5D5AA011-5A61-45CB-923B-D6EF76755C9F}">
  <ds:schemaRefs>
    <ds:schemaRef ds:uri="http://schemas.microsoft.com/edu/athena"/>
  </ds:schemaRefs>
</ds:datastoreItem>
</file>

<file path=customXml/itemProps4.xml><?xml version="1.0" encoding="utf-8"?>
<ds:datastoreItem xmlns:ds="http://schemas.openxmlformats.org/officeDocument/2006/customXml" ds:itemID="{20088A85-46F7-4997-8F7B-B1F9FB982421}">
  <ds:schemaRefs>
    <ds:schemaRef ds:uri="http://schemas.microsoft.com/edu/athena"/>
  </ds:schemaRefs>
</ds:datastoreItem>
</file>

<file path=customXml/itemProps5.xml><?xml version="1.0" encoding="utf-8"?>
<ds:datastoreItem xmlns:ds="http://schemas.openxmlformats.org/officeDocument/2006/customXml" ds:itemID="{9C211162-FEE8-4FAF-ABFB-38270835BE3D}">
  <ds:schemaRefs>
    <ds:schemaRef ds:uri="http://schemas.microsoft.com/edu/athena"/>
  </ds:schemaRefs>
</ds:datastoreItem>
</file>

<file path=customXml/itemProps6.xml><?xml version="1.0" encoding="utf-8"?>
<ds:datastoreItem xmlns:ds="http://schemas.openxmlformats.org/officeDocument/2006/customXml" ds:itemID="{1E91C368-5CAD-4205-A5CE-B7A169753F0E}">
  <ds:schemaRefs>
    <ds:schemaRef ds:uri="http://schemas.microsoft.com/edu/athena"/>
  </ds:schemaRefs>
</ds:datastoreItem>
</file>

<file path=customXml/itemProps7.xml><?xml version="1.0" encoding="utf-8"?>
<ds:datastoreItem xmlns:ds="http://schemas.openxmlformats.org/officeDocument/2006/customXml" ds:itemID="{EB15AF4C-9C73-4B9E-AE4E-1E75F7AF4AB8}">
  <ds:schemaRefs>
    <ds:schemaRef ds:uri="http://schemas.microsoft.com/edu/athena"/>
  </ds:schemaRefs>
</ds:datastoreItem>
</file>

<file path=docProps/app.xml><?xml version="1.0" encoding="utf-8"?>
<Properties xmlns="http://schemas.openxmlformats.org/officeDocument/2006/extended-properties" xmlns:vt="http://schemas.openxmlformats.org/officeDocument/2006/docPropsVTypes">
  <TotalTime>173</TotalTime>
  <Words>966</Words>
  <Application>Microsoft Office PowerPoint</Application>
  <PresentationFormat>Widescreen</PresentationFormat>
  <Paragraphs>122</Paragraphs>
  <Slides>23</Slides>
  <Notes>18</Notes>
  <HiddenSlides>0</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23</vt:i4>
      </vt:variant>
    </vt:vector>
  </HeadingPairs>
  <TitlesOfParts>
    <vt:vector size="40" baseType="lpstr">
      <vt:lpstr>Arial</vt:lpstr>
      <vt:lpstr>Calibri</vt:lpstr>
      <vt:lpstr>Calibri Light</vt:lpstr>
      <vt:lpstr>Consolas</vt:lpstr>
      <vt:lpstr>Segoe UI</vt:lpstr>
      <vt:lpstr>Segoe UI Light</vt:lpstr>
      <vt:lpstr>Segoe UI Semibold</vt:lpstr>
      <vt:lpstr>Segoe UI Semilight</vt:lpstr>
      <vt:lpstr>Segoe UI Symbol</vt:lpstr>
      <vt:lpstr>Wingdings</vt:lpstr>
      <vt:lpstr>MS Education</vt:lpstr>
      <vt:lpstr>COLOR TEMPLATE</vt:lpstr>
      <vt:lpstr>WHITE TEMPLATE</vt:lpstr>
      <vt:lpstr>Office Theme</vt:lpstr>
      <vt:lpstr>5-30055_Office365 Template 2012 - 16x9 - White Background</vt:lpstr>
      <vt:lpstr>9_5-30055_Office Template 2012 - 16x9 - White Background</vt:lpstr>
      <vt:lpstr>think-cell Slide</vt:lpstr>
      <vt:lpstr>Inspiration til den moderne skole   International økonomi | 04.03.19 Erik Carter | Læringskonsulent</vt:lpstr>
      <vt:lpstr>Hvordan er jeres proces?</vt:lpstr>
      <vt:lpstr>PowerPoint Presentation</vt:lpstr>
      <vt:lpstr>3 behov for samarbejde</vt:lpstr>
      <vt:lpstr>Gratis onlinekurser – på dansk!</vt:lpstr>
      <vt:lpstr>Microsofts Education-portal www.aka.ms/blivMIE    Opret profil med Office 365 og koden ECQV6X9TDFY2018</vt:lpstr>
      <vt:lpstr>Hvorfor Teams? * Spar tid i hverdagen * Bedre samarbejde * Eleverne aktiveres mere</vt:lpstr>
      <vt:lpstr>Opbygning af Teams</vt:lpstr>
      <vt:lpstr>Opbygning af Teams</vt:lpstr>
      <vt:lpstr>4 slags Teams til alle slags samarbejde</vt:lpstr>
      <vt:lpstr>4 slags Teams til alle slags samarbejde</vt:lpstr>
      <vt:lpstr>4 slags Teams til alle slags samarbejde</vt:lpstr>
      <vt:lpstr>4 slags Teams til alle slags samarbejde</vt:lpstr>
      <vt:lpstr>4 slags Teams til alle slags samarbejde</vt:lpstr>
      <vt:lpstr>Refleksion  Hvor kan Teams give mening for jeres lærere?  Hvor kan Teams give mening for jeres elever? </vt:lpstr>
      <vt:lpstr>3 konkrete Teams-scenarier  1) Projektopgave for elever 2) Samarbejde i en faggruppe 3) Kommunikation med eleverne</vt:lpstr>
      <vt:lpstr>1) Projektopgave for elever</vt:lpstr>
      <vt:lpstr>2) Samarbejde i faggruppe</vt:lpstr>
      <vt:lpstr>3) Kommunikation m. elever</vt:lpstr>
      <vt:lpstr>Hjælp til ordblinde og til læsningen</vt:lpstr>
      <vt:lpstr>Office Lens til iOS – scan bøger og få dem læst op direkte på dit device – find i  App Store  På PC: vælg ‘Vis’ i OneNote og Word Online – vælg ‘Moderne læser’ – husk evt. at angive sprog  OneNote 2016: der findes et plugin, download: https://www.onenote.com/learningtools  OneNote til Windows 10: findes integreret i app’en</vt:lpstr>
      <vt:lpstr>Vær med i vores netværk for undervisere!  www.aka.ms/MIEteam</vt:lpstr>
      <vt:lpstr>Download Office Lens på App Store/Google Pla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piration til den moderne skole   Webinar – ITEO | 08.11.18 Erik Carter | Læringskonsulent</dc:title>
  <dc:creator>Erik Carter</dc:creator>
  <cp:lastModifiedBy>Erik Carter (Adecco)</cp:lastModifiedBy>
  <cp:revision>3</cp:revision>
  <dcterms:created xsi:type="dcterms:W3CDTF">2018-11-12T13:33:03Z</dcterms:created>
  <dcterms:modified xsi:type="dcterms:W3CDTF">2019-03-04T09:10: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a-ercart@microsoft.com</vt:lpwstr>
  </property>
  <property fmtid="{D5CDD505-2E9C-101B-9397-08002B2CF9AE}" pid="5" name="MSIP_Label_f42aa342-8706-4288-bd11-ebb85995028c_SetDate">
    <vt:lpwstr>2018-12-03T14:12:22.0814205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ies>
</file>